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heme/theme2.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heme/theme3.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8" r:id="rId5"/>
  </p:sldMasterIdLst>
  <p:notesMasterIdLst>
    <p:notesMasterId r:id="rId44"/>
  </p:notesMasterIdLst>
  <p:handoutMasterIdLst>
    <p:handoutMasterId r:id="rId45"/>
  </p:handoutMasterIdLst>
  <p:sldIdLst>
    <p:sldId id="256" r:id="rId6"/>
    <p:sldId id="344" r:id="rId7"/>
    <p:sldId id="293" r:id="rId8"/>
    <p:sldId id="309" r:id="rId9"/>
    <p:sldId id="322" r:id="rId10"/>
    <p:sldId id="343" r:id="rId11"/>
    <p:sldId id="316" r:id="rId12"/>
    <p:sldId id="317" r:id="rId13"/>
    <p:sldId id="342" r:id="rId14"/>
    <p:sldId id="318" r:id="rId15"/>
    <p:sldId id="319" r:id="rId16"/>
    <p:sldId id="345" r:id="rId17"/>
    <p:sldId id="314" r:id="rId18"/>
    <p:sldId id="291" r:id="rId19"/>
    <p:sldId id="305" r:id="rId20"/>
    <p:sldId id="303" r:id="rId21"/>
    <p:sldId id="352" r:id="rId22"/>
    <p:sldId id="347" r:id="rId23"/>
    <p:sldId id="332" r:id="rId24"/>
    <p:sldId id="328" r:id="rId25"/>
    <p:sldId id="333" r:id="rId26"/>
    <p:sldId id="327" r:id="rId27"/>
    <p:sldId id="334" r:id="rId28"/>
    <p:sldId id="323" r:id="rId29"/>
    <p:sldId id="325" r:id="rId30"/>
    <p:sldId id="326" r:id="rId31"/>
    <p:sldId id="335" r:id="rId32"/>
    <p:sldId id="336" r:id="rId33"/>
    <p:sldId id="350" r:id="rId34"/>
    <p:sldId id="351" r:id="rId35"/>
    <p:sldId id="337" r:id="rId36"/>
    <p:sldId id="338" r:id="rId37"/>
    <p:sldId id="339" r:id="rId38"/>
    <p:sldId id="340" r:id="rId39"/>
    <p:sldId id="341" r:id="rId40"/>
    <p:sldId id="348" r:id="rId41"/>
    <p:sldId id="349" r:id="rId42"/>
    <p:sldId id="258" r:id="rId43"/>
  </p:sldIdLst>
  <p:sldSz cx="12192000" cy="6858000"/>
  <p:notesSz cx="7099300" cy="10234613"/>
  <p:custDataLst>
    <p:tags r:id="rId46"/>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7DF865B-115A-48E5-80C2-E337E2B7E1A4}">
          <p14:sldIdLst>
            <p14:sldId id="256"/>
            <p14:sldId id="344"/>
            <p14:sldId id="293"/>
            <p14:sldId id="309"/>
            <p14:sldId id="322"/>
            <p14:sldId id="343"/>
            <p14:sldId id="316"/>
            <p14:sldId id="317"/>
            <p14:sldId id="342"/>
            <p14:sldId id="318"/>
            <p14:sldId id="319"/>
            <p14:sldId id="345"/>
            <p14:sldId id="314"/>
            <p14:sldId id="291"/>
            <p14:sldId id="305"/>
            <p14:sldId id="303"/>
            <p14:sldId id="352"/>
            <p14:sldId id="347"/>
            <p14:sldId id="332"/>
            <p14:sldId id="328"/>
            <p14:sldId id="333"/>
            <p14:sldId id="327"/>
            <p14:sldId id="334"/>
            <p14:sldId id="323"/>
            <p14:sldId id="325"/>
            <p14:sldId id="326"/>
            <p14:sldId id="335"/>
            <p14:sldId id="336"/>
            <p14:sldId id="350"/>
            <p14:sldId id="351"/>
            <p14:sldId id="337"/>
            <p14:sldId id="338"/>
            <p14:sldId id="339"/>
            <p14:sldId id="340"/>
            <p14:sldId id="341"/>
            <p14:sldId id="348"/>
            <p14:sldId id="349"/>
            <p14:sldId id="258"/>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87584" autoAdjust="0"/>
  </p:normalViewPr>
  <p:slideViewPr>
    <p:cSldViewPr snapToObjects="1" showGuides="1">
      <p:cViewPr varScale="1">
        <p:scale>
          <a:sx n="64" d="100"/>
          <a:sy n="64" d="100"/>
        </p:scale>
        <p:origin x="592" y="52"/>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0" d="100"/>
          <a:sy n="70" d="100"/>
        </p:scale>
        <p:origin x="2268" y="42"/>
      </p:cViewPr>
      <p:guideLst>
        <p:guide orient="horz" pos="187"/>
        <p:guide orient="horz" pos="638"/>
        <p:guide orient="horz" pos="453"/>
        <p:guide orient="horz" pos="6262"/>
        <p:guide pos="4186"/>
        <p:guide pos="286"/>
        <p:guide pos="830"/>
        <p:guide pos="386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4.png"/><Relationship Id="rId2" Type="http://schemas.openxmlformats.org/officeDocument/2006/relationships/tags" Target="../tags/tag186.xml"/><Relationship Id="rId1" Type="http://schemas.openxmlformats.org/officeDocument/2006/relationships/theme" Target="../theme/theme3.xml"/><Relationship Id="rId6" Type="http://schemas.openxmlformats.org/officeDocument/2006/relationships/tags" Target="../tags/tag190.xml"/><Relationship Id="rId11" Type="http://schemas.openxmlformats.org/officeDocument/2006/relationships/tags" Target="../tags/tag195.xml"/><Relationship Id="rId5" Type="http://schemas.openxmlformats.org/officeDocument/2006/relationships/tags" Target="../tags/tag189.xml"/><Relationship Id="rId10" Type="http://schemas.openxmlformats.org/officeDocument/2006/relationships/tags" Target="../tags/tag194.xml"/><Relationship Id="rId4" Type="http://schemas.openxmlformats.org/officeDocument/2006/relationships/tags" Target="../tags/tag188.xml"/><Relationship Id="rId9" Type="http://schemas.openxmlformats.org/officeDocument/2006/relationships/tags" Target="../tags/tag19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dirty="0">
                <a:solidFill>
                  <a:srgbClr val="928285"/>
                </a:solidFill>
                <a:latin typeface="Arial" panose="020B0604020202020204" pitchFamily="34" charset="0"/>
                <a:ea typeface="Verdana" pitchFamily="34" charset="0"/>
                <a:cs typeface="Arial" panose="020B0604020202020204" pitchFamily="34" charset="0"/>
              </a:rPr>
              <a:t>[</a:t>
            </a:r>
            <a:r>
              <a:rPr lang="de-DE" sz="800" kern="0" dirty="0" err="1">
                <a:solidFill>
                  <a:srgbClr val="928285"/>
                </a:solidFill>
                <a:latin typeface="Arial" panose="020B0604020202020204" pitchFamily="34" charset="0"/>
                <a:ea typeface="Verdana" pitchFamily="34" charset="0"/>
                <a:cs typeface="Arial" panose="020B0604020202020204" pitchFamily="34" charset="0"/>
              </a:rPr>
              <a:t>Owner</a:t>
            </a:r>
            <a:r>
              <a:rPr lang="de-DE" sz="800" kern="0" dirty="0">
                <a:solidFill>
                  <a:srgbClr val="928285"/>
                </a:solidFill>
                <a:latin typeface="Arial" panose="020B0604020202020204" pitchFamily="34" charset="0"/>
                <a:ea typeface="Verdana" pitchFamily="34" charset="0"/>
                <a:cs typeface="Arial" panose="020B0604020202020204" pitchFamily="34" charset="0"/>
              </a:rPr>
              <a:t>: </a:t>
            </a:r>
            <a:r>
              <a:rPr lang="de-DE" sz="800" kern="0" dirty="0" err="1">
                <a:solidFill>
                  <a:srgbClr val="928285"/>
                </a:solidFill>
                <a:latin typeface="Arial" panose="020B0604020202020204" pitchFamily="34" charset="0"/>
                <a:ea typeface="Verdana" pitchFamily="34" charset="0"/>
                <a:cs typeface="Arial" panose="020B0604020202020204" pitchFamily="34" charset="0"/>
              </a:rPr>
              <a:t>Lorem</a:t>
            </a:r>
            <a:r>
              <a:rPr lang="de-DE" sz="800" kern="0" dirty="0">
                <a:solidFill>
                  <a:srgbClr val="928285"/>
                </a:solidFill>
                <a:latin typeface="Arial" panose="020B0604020202020204" pitchFamily="34" charset="0"/>
                <a:ea typeface="Verdana" pitchFamily="34" charset="0"/>
                <a:cs typeface="Arial" panose="020B0604020202020204" pitchFamily="34" charset="0"/>
              </a:rPr>
              <a:t>  Doc ID: </a:t>
            </a:r>
            <a:r>
              <a:rPr lang="de-DE" sz="800" kern="0" dirty="0" err="1">
                <a:solidFill>
                  <a:srgbClr val="928285"/>
                </a:solidFill>
                <a:latin typeface="Arial" panose="020B0604020202020204" pitchFamily="34" charset="0"/>
                <a:ea typeface="Verdana" pitchFamily="34" charset="0"/>
                <a:cs typeface="Arial" panose="020B0604020202020204" pitchFamily="34" charset="0"/>
              </a:rPr>
              <a:t>Lorem</a:t>
            </a:r>
            <a:r>
              <a:rPr lang="de-DE" sz="800" kern="0" dirty="0">
                <a:solidFill>
                  <a:srgbClr val="928285"/>
                </a:solidFill>
                <a:latin typeface="Arial" panose="020B0604020202020204" pitchFamily="34" charset="0"/>
                <a:ea typeface="Verdana" pitchFamily="34" charset="0"/>
                <a:cs typeface="Arial" panose="020B0604020202020204" pitchFamily="34" charset="0"/>
              </a:rPr>
              <a:t>  Vers.: </a:t>
            </a:r>
            <a:r>
              <a:rPr lang="de-DE" sz="800" kern="0" dirty="0" err="1">
                <a:solidFill>
                  <a:srgbClr val="928285"/>
                </a:solidFill>
                <a:latin typeface="Arial" panose="020B0604020202020204" pitchFamily="34" charset="0"/>
                <a:ea typeface="Verdana" pitchFamily="34" charset="0"/>
                <a:cs typeface="Arial" panose="020B0604020202020204" pitchFamily="34" charset="0"/>
              </a:rPr>
              <a:t>Lorem</a:t>
            </a:r>
            <a:r>
              <a:rPr lang="de-DE" sz="800" kern="0" dirty="0">
                <a:solidFill>
                  <a:srgbClr val="928285"/>
                </a:solidFill>
                <a:latin typeface="Arial" panose="020B0604020202020204" pitchFamily="34" charset="0"/>
                <a:ea typeface="Verdana" pitchFamily="34" charset="0"/>
                <a:cs typeface="Arial" panose="020B0604020202020204" pitchFamily="34" charset="0"/>
              </a:rPr>
              <a:t>]</a:t>
            </a:r>
          </a:p>
        </p:txBody>
      </p:sp>
      <p:sp>
        <p:nvSpPr>
          <p:cNvPr id="3" name="empower_proprietary_placeholder">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a:solidFill>
                  <a:srgbClr val="E30034"/>
                </a:solidFill>
                <a:latin typeface="Arial" panose="020B0604020202020204" pitchFamily="34" charset="0"/>
                <a:ea typeface="Verdana" pitchFamily="34" charset="0"/>
                <a:cs typeface="Arial" panose="020B0604020202020204" pitchFamily="34" charset="0"/>
              </a:rPr>
              <a:t>Infineon </a:t>
            </a:r>
            <a:r>
              <a:rPr lang="de-DE" sz="800" b="1" kern="0" dirty="0" err="1">
                <a:solidFill>
                  <a:srgbClr val="E30034"/>
                </a:solidFill>
                <a:latin typeface="Arial" panose="020B0604020202020204" pitchFamily="34" charset="0"/>
                <a:ea typeface="Verdana" pitchFamily="34" charset="0"/>
                <a:cs typeface="Arial" panose="020B0604020202020204" pitchFamily="34" charset="0"/>
              </a:rPr>
              <a:t>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a:solidFill>
                  <a:srgbClr val="E30034"/>
                </a:solidFill>
                <a:latin typeface="Arial" panose="020B0604020202020204" pitchFamily="34" charset="0"/>
                <a:ea typeface="Verdana" pitchFamily="34" charset="0"/>
                <a:cs typeface="Arial" panose="020B0604020202020204" pitchFamily="34" charset="0"/>
              </a:rPr>
              <a:t>- draft -</a:t>
            </a: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dirty="0">
                <a:solidFill>
                  <a:srgbClr val="928285"/>
                </a:solidFill>
                <a:latin typeface="Arial" panose="020B0604020202020204" pitchFamily="34" charset="0"/>
                <a:ea typeface="Verdana" pitchFamily="34" charset="0"/>
                <a:cs typeface="Arial" panose="020B0604020202020204" pitchFamily="34" charset="0"/>
              </a:rPr>
              <a:t>Copyright © Infineon Technologies AG 2020. All rights reserved.</a:t>
            </a: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E30034"/>
                </a:solidFill>
                <a:latin typeface="Arial" panose="020B0604020202020204" pitchFamily="34" charset="0"/>
                <a:ea typeface="Verdana" pitchFamily="34" charset="0"/>
                <a:cs typeface="Arial" panose="020B0604020202020204" pitchFamily="34" charset="0"/>
              </a:rPr>
              <a:t>strictly</a:t>
            </a:r>
            <a:r>
              <a:rPr lang="de-DE" sz="800" b="1" kern="0" dirty="0">
                <a:solidFill>
                  <a:srgbClr val="E30034"/>
                </a:solidFill>
                <a:latin typeface="Arial" panose="020B0604020202020204" pitchFamily="34" charset="0"/>
                <a:ea typeface="Verdana" pitchFamily="34" charset="0"/>
                <a:cs typeface="Arial" panose="020B0604020202020204" pitchFamily="34" charset="0"/>
              </a:rPr>
              <a:t> </a:t>
            </a:r>
            <a:r>
              <a:rPr lang="de-DE" sz="800" b="1" kern="0" dirty="0" err="1">
                <a:solidFill>
                  <a:srgbClr val="E30034"/>
                </a:solidFill>
                <a:latin typeface="Arial" panose="020B0604020202020204" pitchFamily="34" charset="0"/>
                <a:ea typeface="Verdana" pitchFamily="34" charset="0"/>
                <a:cs typeface="Arial" panose="020B0604020202020204" pitchFamily="34" charset="0"/>
              </a:rPr>
              <a:t>confidential</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dirty="0">
                <a:solidFill>
                  <a:srgbClr val="928285"/>
                </a:solidFill>
                <a:latin typeface="Arial" panose="020B0604020202020204" pitchFamily="34" charset="0"/>
                <a:ea typeface="Verdana" pitchFamily="34" charset="0"/>
                <a:cs typeface="Arial" panose="020B0604020202020204" pitchFamily="34" charset="0"/>
              </a:rPr>
              <a:t>2020-10-20</a:t>
            </a: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4.png"/><Relationship Id="rId2" Type="http://schemas.openxmlformats.org/officeDocument/2006/relationships/tags" Target="../tags/tag176.xml"/><Relationship Id="rId1" Type="http://schemas.openxmlformats.org/officeDocument/2006/relationships/theme" Target="../theme/theme2.xml"/><Relationship Id="rId6" Type="http://schemas.openxmlformats.org/officeDocument/2006/relationships/tags" Target="../tags/tag180.xml"/><Relationship Id="rId11" Type="http://schemas.openxmlformats.org/officeDocument/2006/relationships/tags" Target="../tags/tag185.xml"/><Relationship Id="rId5" Type="http://schemas.openxmlformats.org/officeDocument/2006/relationships/tags" Target="../tags/tag179.xml"/><Relationship Id="rId10" Type="http://schemas.openxmlformats.org/officeDocument/2006/relationships/tags" Target="../tags/tag184.xml"/><Relationship Id="rId4" Type="http://schemas.openxmlformats.org/officeDocument/2006/relationships/tags" Target="../tags/tag178.xml"/><Relationship Id="rId9" Type="http://schemas.openxmlformats.org/officeDocument/2006/relationships/tags" Target="../tags/tag18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dirty="0">
                <a:solidFill>
                  <a:srgbClr val="928285"/>
                </a:solidFill>
                <a:latin typeface="Arial" panose="020B0604020202020204" pitchFamily="34" charset="0"/>
                <a:ea typeface="Verdana" pitchFamily="34" charset="0"/>
                <a:cs typeface="Arial" panose="020B0604020202020204" pitchFamily="34" charset="0"/>
              </a:rPr>
              <a:t>[</a:t>
            </a:r>
            <a:r>
              <a:rPr lang="de-DE" sz="800" kern="0" dirty="0" err="1">
                <a:solidFill>
                  <a:srgbClr val="928285"/>
                </a:solidFill>
                <a:latin typeface="Arial" panose="020B0604020202020204" pitchFamily="34" charset="0"/>
                <a:ea typeface="Verdana" pitchFamily="34" charset="0"/>
                <a:cs typeface="Arial" panose="020B0604020202020204" pitchFamily="34" charset="0"/>
              </a:rPr>
              <a:t>Owner</a:t>
            </a:r>
            <a:r>
              <a:rPr lang="de-DE" sz="800" kern="0" dirty="0">
                <a:solidFill>
                  <a:srgbClr val="928285"/>
                </a:solidFill>
                <a:latin typeface="Arial" panose="020B0604020202020204" pitchFamily="34" charset="0"/>
                <a:ea typeface="Verdana" pitchFamily="34" charset="0"/>
                <a:cs typeface="Arial" panose="020B0604020202020204" pitchFamily="34" charset="0"/>
              </a:rPr>
              <a:t>: </a:t>
            </a:r>
            <a:r>
              <a:rPr lang="de-DE" sz="800" kern="0" dirty="0" err="1">
                <a:solidFill>
                  <a:srgbClr val="928285"/>
                </a:solidFill>
                <a:latin typeface="Arial" panose="020B0604020202020204" pitchFamily="34" charset="0"/>
                <a:ea typeface="Verdana" pitchFamily="34" charset="0"/>
                <a:cs typeface="Arial" panose="020B0604020202020204" pitchFamily="34" charset="0"/>
              </a:rPr>
              <a:t>Lorem</a:t>
            </a:r>
            <a:r>
              <a:rPr lang="de-DE" sz="800" kern="0" dirty="0">
                <a:solidFill>
                  <a:srgbClr val="928285"/>
                </a:solidFill>
                <a:latin typeface="Arial" panose="020B0604020202020204" pitchFamily="34" charset="0"/>
                <a:ea typeface="Verdana" pitchFamily="34" charset="0"/>
                <a:cs typeface="Arial" panose="020B0604020202020204" pitchFamily="34" charset="0"/>
              </a:rPr>
              <a:t>  Doc ID: </a:t>
            </a:r>
            <a:r>
              <a:rPr lang="de-DE" sz="800" kern="0" dirty="0" err="1">
                <a:solidFill>
                  <a:srgbClr val="928285"/>
                </a:solidFill>
                <a:latin typeface="Arial" panose="020B0604020202020204" pitchFamily="34" charset="0"/>
                <a:ea typeface="Verdana" pitchFamily="34" charset="0"/>
                <a:cs typeface="Arial" panose="020B0604020202020204" pitchFamily="34" charset="0"/>
              </a:rPr>
              <a:t>Lorem</a:t>
            </a:r>
            <a:r>
              <a:rPr lang="de-DE" sz="800" kern="0" dirty="0">
                <a:solidFill>
                  <a:srgbClr val="928285"/>
                </a:solidFill>
                <a:latin typeface="Arial" panose="020B0604020202020204" pitchFamily="34" charset="0"/>
                <a:ea typeface="Verdana" pitchFamily="34" charset="0"/>
                <a:cs typeface="Arial" panose="020B0604020202020204" pitchFamily="34" charset="0"/>
              </a:rPr>
              <a:t>  Vers.: </a:t>
            </a:r>
            <a:r>
              <a:rPr lang="de-DE" sz="800" kern="0" dirty="0" err="1">
                <a:solidFill>
                  <a:srgbClr val="928285"/>
                </a:solidFill>
                <a:latin typeface="Arial" panose="020B0604020202020204" pitchFamily="34" charset="0"/>
                <a:ea typeface="Verdana" pitchFamily="34" charset="0"/>
                <a:cs typeface="Arial" panose="020B0604020202020204" pitchFamily="34" charset="0"/>
              </a:rPr>
              <a:t>Lorem</a:t>
            </a:r>
            <a:r>
              <a:rPr lang="de-DE" sz="800" kern="0" dirty="0">
                <a:solidFill>
                  <a:srgbClr val="928285"/>
                </a:solidFill>
                <a:latin typeface="Arial" panose="020B0604020202020204" pitchFamily="34" charset="0"/>
                <a:ea typeface="Verdana" pitchFamily="34" charset="0"/>
                <a:cs typeface="Arial" panose="020B0604020202020204" pitchFamily="34" charset="0"/>
              </a:rPr>
              <a:t>]</a:t>
            </a:r>
          </a:p>
        </p:txBody>
      </p:sp>
      <p:sp>
        <p:nvSpPr>
          <p:cNvPr id="3" name="empower_proprietary_placeholder">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a:solidFill>
                  <a:srgbClr val="E30034"/>
                </a:solidFill>
                <a:latin typeface="Arial" panose="020B0604020202020204" pitchFamily="34" charset="0"/>
                <a:ea typeface="Verdana" pitchFamily="34" charset="0"/>
                <a:cs typeface="Arial" panose="020B0604020202020204" pitchFamily="34" charset="0"/>
              </a:rPr>
              <a:t>Infineon </a:t>
            </a:r>
            <a:r>
              <a:rPr lang="de-DE" sz="800" b="1" kern="0" dirty="0" err="1">
                <a:solidFill>
                  <a:srgbClr val="E30034"/>
                </a:solidFill>
                <a:latin typeface="Arial" panose="020B0604020202020204" pitchFamily="34" charset="0"/>
                <a:ea typeface="Verdana" pitchFamily="34" charset="0"/>
                <a:cs typeface="Arial" panose="020B0604020202020204" pitchFamily="34" charset="0"/>
              </a:rPr>
              <a:t>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a:solidFill>
                  <a:srgbClr val="E30034"/>
                </a:solidFill>
                <a:latin typeface="Arial" panose="020B0604020202020204" pitchFamily="34" charset="0"/>
                <a:ea typeface="Verdana" pitchFamily="34" charset="0"/>
                <a:cs typeface="Arial" panose="020B0604020202020204" pitchFamily="34" charset="0"/>
              </a:rPr>
              <a:t>- draft -</a:t>
            </a: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dirty="0">
                <a:solidFill>
                  <a:srgbClr val="928285"/>
                </a:solidFill>
                <a:latin typeface="Arial" panose="020B0604020202020204" pitchFamily="34" charset="0"/>
                <a:ea typeface="Verdana" pitchFamily="34" charset="0"/>
                <a:cs typeface="Arial" panose="020B0604020202020204" pitchFamily="34" charset="0"/>
              </a:rPr>
              <a:t>Copyright © Infineon Technologies AG 2020. All rights reserved.</a:t>
            </a:r>
          </a:p>
        </p:txBody>
      </p:sp>
      <p:sp>
        <p:nvSpPr>
          <p:cNvPr id="6" name="empower_classification_attention_placeholder">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E30034"/>
                </a:solidFill>
                <a:latin typeface="Arial" panose="020B0604020202020204" pitchFamily="34" charset="0"/>
                <a:ea typeface="Verdana" pitchFamily="34" charset="0"/>
                <a:cs typeface="Arial" panose="020B0604020202020204" pitchFamily="34" charset="0"/>
              </a:rPr>
              <a:t>strictly</a:t>
            </a:r>
            <a:r>
              <a:rPr lang="de-DE" sz="800" b="1" kern="0" dirty="0">
                <a:solidFill>
                  <a:srgbClr val="E30034"/>
                </a:solidFill>
                <a:latin typeface="Arial" panose="020B0604020202020204" pitchFamily="34" charset="0"/>
                <a:ea typeface="Verdana" pitchFamily="34" charset="0"/>
                <a:cs typeface="Arial" panose="020B0604020202020204" pitchFamily="34" charset="0"/>
              </a:rPr>
              <a:t> </a:t>
            </a:r>
            <a:r>
              <a:rPr lang="de-DE" sz="800" b="1" kern="0" dirty="0" err="1">
                <a:solidFill>
                  <a:srgbClr val="E30034"/>
                </a:solidFill>
                <a:latin typeface="Arial" panose="020B0604020202020204" pitchFamily="34" charset="0"/>
                <a:ea typeface="Verdana" pitchFamily="34" charset="0"/>
                <a:cs typeface="Arial" panose="020B0604020202020204" pitchFamily="34" charset="0"/>
              </a:rPr>
              <a:t>confidential</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dirty="0" err="1">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dirty="0">
                <a:solidFill>
                  <a:srgbClr val="928285"/>
                </a:solidFill>
                <a:latin typeface="Arial" panose="020B0604020202020204" pitchFamily="34" charset="0"/>
                <a:ea typeface="Verdana" pitchFamily="34" charset="0"/>
                <a:cs typeface="Arial" panose="020B0604020202020204" pitchFamily="34" charset="0"/>
              </a:rPr>
              <a:t>2020-10-20</a:t>
            </a: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endParaRPr lang="en-US" sz="100"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0-09-28</a:t>
            </a:r>
          </a:p>
          <a:p>
            <a:endParaRPr lang="en-US" sz="100" dirty="0"/>
          </a:p>
        </p:txBody>
      </p:sp>
      <p:sp>
        <p:nvSpPr>
          <p:cNvPr id="7" name="Slide Number Placeholder 6"/>
          <p:cNvSpPr>
            <a:spLocks noGrp="1"/>
          </p:cNvSpPr>
          <p:nvPr>
            <p:ph type="sldNum" sz="quarter" idx="5"/>
          </p:nvPr>
        </p:nvSpPr>
        <p:spPr/>
        <p:txBody>
          <a:bodyPr/>
          <a:lstStyle/>
          <a:p>
            <a:fld id="{4165D906-55BD-49C5-997D-27A40DB53D15}" type="slidenum">
              <a:rPr lang="en-US">
                <a:latin typeface="Arial" panose="020B0604020202020204" pitchFamily="34" charset="0"/>
                <a:cs typeface="Arial" panose="020B0604020202020204" pitchFamily="34" charset="0"/>
              </a:rPr>
              <a:pPr/>
              <a:t>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9515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38123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2546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pPr>
            <a:r>
              <a:rPr lang="de-DE" altLang="zh-CN" sz="1200" kern="0" baseline="0" dirty="0">
                <a:latin typeface="+mn-lt"/>
                <a:ea typeface="+mn-ea"/>
                <a:cs typeface="+mn-cs"/>
              </a:rPr>
              <a:t>My recommendation is that BSHL test package imports the rival2 test package and create two files, one is external sequence if you want to enable the </a:t>
            </a:r>
            <a:r>
              <a:rPr lang="zh-CN" altLang="de-DE" sz="1200" kern="0" baseline="0" dirty="0">
                <a:latin typeface="+mn-lt"/>
                <a:ea typeface="+mn-ea"/>
                <a:cs typeface="+mn-cs"/>
              </a:rPr>
              <a:t>“</a:t>
            </a:r>
            <a:r>
              <a:rPr lang="de-DE" altLang="zh-CN" sz="1200" kern="0" baseline="0" dirty="0">
                <a:latin typeface="+mn-lt"/>
                <a:ea typeface="+mn-ea"/>
                <a:cs typeface="+mn-cs"/>
              </a:rPr>
              <a:t>external sequence sent to SV-VIP and dispatch to design</a:t>
            </a:r>
            <a:r>
              <a:rPr lang="zh-CN" altLang="de-DE" sz="1200" kern="0" baseline="0" dirty="0">
                <a:latin typeface="+mn-lt"/>
                <a:ea typeface="+mn-ea"/>
                <a:cs typeface="+mn-cs"/>
              </a:rPr>
              <a:t>” </a:t>
            </a:r>
            <a:r>
              <a:rPr lang="de-DE" altLang="zh-CN" sz="1200" kern="0" baseline="0" dirty="0">
                <a:latin typeface="+mn-lt"/>
                <a:ea typeface="+mn-ea"/>
                <a:cs typeface="+mn-cs"/>
              </a:rPr>
              <a:t>test.</a:t>
            </a:r>
          </a:p>
          <a:p>
            <a: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pPr>
            <a:r>
              <a:rPr lang="de-DE" altLang="zh-CN" sz="1200" kern="0" baseline="0" dirty="0">
                <a:latin typeface="+mn-lt"/>
                <a:ea typeface="+mn-ea"/>
                <a:cs typeface="+mn-cs"/>
              </a:rPr>
              <a:t>And the another one is new_test_case file (extends test_sandbox.svh) and it is also an implementation of BSHL interface class.</a:t>
            </a:r>
            <a:endParaRPr lang="de-DE" sz="1200" kern="0" baseline="0" dirty="0">
              <a:latin typeface="+mn-lt"/>
              <a:ea typeface="+mn-ea"/>
              <a:cs typeface="+mn-cs"/>
            </a:endParaRPr>
          </a:p>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0823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side the test case, the most important part is this simulation flow in </a:t>
            </a:r>
            <a:r>
              <a:rPr lang="en-GB" dirty="0" err="1"/>
              <a:t>run_phase</a:t>
            </a:r>
            <a:r>
              <a:rPr lang="en-GB" dirty="0"/>
              <a:t>.</a:t>
            </a:r>
            <a:br>
              <a:rPr lang="en-GB" dirty="0"/>
            </a:br>
            <a:r>
              <a:rPr lang="en-GB" dirty="0"/>
              <a:t>User can adapt every functions or tasks declared in Interface class to suit their specific needs. </a:t>
            </a:r>
            <a:br>
              <a:rPr lang="en-GB" dirty="0"/>
            </a:br>
            <a:r>
              <a:rPr lang="en-GB" dirty="0" err="1"/>
              <a:t>Let’t</a:t>
            </a:r>
            <a:r>
              <a:rPr lang="en-GB" dirty="0"/>
              <a:t> take </a:t>
            </a:r>
            <a:r>
              <a:rPr lang="en-GB" dirty="0" err="1"/>
              <a:t>BSHL_api</a:t>
            </a:r>
            <a:r>
              <a:rPr lang="en-GB" dirty="0"/>
              <a:t> as a reference to go through the </a:t>
            </a:r>
            <a:r>
              <a:rPr lang="en-GB" dirty="0" err="1"/>
              <a:t>run_phase</a:t>
            </a:r>
            <a:r>
              <a:rPr lang="en-GB" dirty="0"/>
              <a:t> flow.</a:t>
            </a:r>
            <a:br>
              <a:rPr lang="en-GB" dirty="0"/>
            </a:br>
            <a:br>
              <a:rPr lang="en-GB" dirty="0"/>
            </a:br>
            <a:r>
              <a:rPr lang="en-GB" dirty="0"/>
              <a:t>Firstly, test will wait for external sequence test start and after it is activated, it will start a fork join, one side is interface task dispatch loop, the other side is a library task Slave receive sequence descriptor. After receiving all sequence descriptor and the external sequence test, it will notify python test completion and wait for next internal test start. And follow the same logic to end internal test.</a:t>
            </a:r>
            <a:br>
              <a:rPr lang="en-GB" dirty="0"/>
            </a:br>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6042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two situations. One is SV-VIP already has a result feedback mechanism so that we can directly use this to sent the response back to python.</a:t>
            </a:r>
            <a:br>
              <a:rPr lang="en-GB" dirty="0"/>
            </a:br>
            <a:r>
              <a:rPr lang="en-GB" dirty="0"/>
              <a:t>But if there is not, we have to build a new feedback path. My recommendation is like this pic(also adapted in my example demo). Create a state monitor in virtual sequencer, and monitor in passive agent get the result from </a:t>
            </a:r>
            <a:r>
              <a:rPr lang="en-GB" dirty="0" err="1"/>
              <a:t>dut</a:t>
            </a:r>
            <a:r>
              <a:rPr lang="en-GB" dirty="0"/>
              <a:t> and sent it to state monitor to external sequence to c language to python.</a:t>
            </a:r>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6329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rom here, I will present some details of modification in specific files.</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367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ltLang="zh-CN" dirty="0"/>
              <a:t>Copy BSHL_user_extensions file in your work space. </a:t>
            </a:r>
            <a:br>
              <a:rPr lang="de-DE" altLang="zh-CN" dirty="0"/>
            </a:br>
            <a:r>
              <a:rPr lang="de-DE" altLang="zh-CN" dirty="0"/>
              <a:t>Import necessary pkgs and include needed files. And take care of renaming</a:t>
            </a:r>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71418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external sequence is based on your internal sequence in your project. You can extends the internal sequence and modify the body().</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7019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Create a new file in your work space.</a:t>
            </a:r>
            <a:br>
              <a:rPr lang="de-DE" dirty="0"/>
            </a:br>
            <a:r>
              <a:rPr lang="de-DE" dirty="0"/>
              <a:t>The body task shoule be like this.</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834405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is the test case and also an implementation of interface class.</a:t>
            </a:r>
            <a:br>
              <a:rPr lang="de-DE" dirty="0"/>
            </a:br>
            <a:r>
              <a:rPr lang="de-DE" dirty="0"/>
              <a:t>My recommendation is a copy this BSHL_api and rename the new file and take this BSHL_api as a reference.</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3023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9189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Cop</a:t>
            </a:r>
            <a:r>
              <a:rPr lang="de-DE" altLang="zh-CN" dirty="0"/>
              <a:t>y BSHL_api in BSHL/source/templates to your work space.</a:t>
            </a:r>
            <a:br>
              <a:rPr lang="de-DE" altLang="zh-CN" dirty="0"/>
            </a:br>
            <a:r>
              <a:rPr lang="de-DE" altLang="zh-CN" dirty="0"/>
              <a:t>Normally, I make this api extends the orginal test case(test_sandbox in rv2demo).</a:t>
            </a:r>
            <a:br>
              <a:rPr lang="de-DE" altLang="zh-CN" dirty="0"/>
            </a:br>
            <a:r>
              <a:rPr lang="de-DE" altLang="zh-CN" dirty="0"/>
              <a:t>And declare the external sequence.</a:t>
            </a:r>
            <a:br>
              <a:rPr lang="de-DE" altLang="zh-CN" dirty="0"/>
            </a:br>
            <a:br>
              <a:rPr lang="de-DE" altLang="zh-CN" dirty="0"/>
            </a:br>
            <a:r>
              <a:rPr lang="de-DE" dirty="0"/>
              <a:t>In run_phase, top_seq </a:t>
            </a:r>
            <a:r>
              <a:rPr lang="de-DE" altLang="zh-CN" dirty="0"/>
              <a:t>is the internal sequence declared in base class so we can directly create it and when internal test starts, activate this internal sequence to the correct sequencer.</a:t>
            </a:r>
            <a:endParaRPr lang="de-DE" dirty="0"/>
          </a:p>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71003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se two interface tasks, you can do a little modification.</a:t>
            </a:r>
            <a:br>
              <a:rPr lang="de-DE" dirty="0"/>
            </a:br>
            <a:r>
              <a:rPr lang="de-DE" dirty="0"/>
              <a:t>i_PythonControlledRuntime task: inside it defines the process of this new user-defined phase, you can change it to some others. In my case, I just raise the objection and never drops to block the sv side.</a:t>
            </a:r>
            <a:br>
              <a:rPr lang="de-DE" dirty="0"/>
            </a:br>
            <a:br>
              <a:rPr lang="de-DE" dirty="0"/>
            </a:br>
            <a:r>
              <a:rPr lang="de-DE" dirty="0"/>
              <a:t>i_BlockingWait: Inside, it defines how sv-vip waits and comsumes the simulation time. The easiest way would be like this, waiting for a certain time interval. But you can utilize your internal clk signal for sure, if you have one.</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99906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n i_do_seq task: the point noted is choose the correct sequencer based on the external sequence you create</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85400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e top level of your project</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01853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mport the BSHL_test_pkg in your top_tb.sv</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0431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Some modifications that you need to add.</a:t>
            </a:r>
            <a:br>
              <a:rPr lang="de-DE" dirty="0"/>
            </a:br>
            <a:r>
              <a:rPr lang="de-DE" dirty="0"/>
              <a:t>You can directly copy and paste.</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7157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44466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o compile successfully, You need to manually add the dir and file path in xrun_files.f. </a:t>
            </a:r>
            <a:br>
              <a:rPr lang="de-DE" dirty="0"/>
            </a:br>
            <a:r>
              <a:rPr lang="de-DE" dirty="0"/>
              <a:t>Put it at the same place with othere pkgs.</a:t>
            </a:r>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7371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endParaRPr lang="en-US" sz="100"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dirty="0"/>
              <a:t>2020-09-28</a:t>
            </a:r>
          </a:p>
          <a:p>
            <a:endParaRPr lang="en-US" sz="100" dirty="0"/>
          </a:p>
        </p:txBody>
      </p:sp>
      <p:sp>
        <p:nvSpPr>
          <p:cNvPr id="7" name="Slide Number Placeholder 6"/>
          <p:cNvSpPr>
            <a:spLocks noGrp="1"/>
          </p:cNvSpPr>
          <p:nvPr>
            <p:ph type="sldNum" sz="quarter" idx="5"/>
          </p:nvPr>
        </p:nvSpPr>
        <p:spPr/>
        <p:txBody>
          <a:bodyPr/>
          <a:lstStyle/>
          <a:p>
            <a:fld id="{4165D906-55BD-49C5-997D-27A40DB53D15}" type="slidenum">
              <a:rPr lang="en-US">
                <a:latin typeface="Arial" panose="020B0604020202020204" pitchFamily="34" charset="0"/>
                <a:cs typeface="Arial" panose="020B0604020202020204" pitchFamily="34" charset="0"/>
              </a:rPr>
              <a:pPr/>
              <a:t>3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49712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2652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168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2306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113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9055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2756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12170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0" Type="http://schemas.openxmlformats.org/officeDocument/2006/relationships/tags" Target="../tags/tag137.xml"/><Relationship Id="rId4" Type="http://schemas.openxmlformats.org/officeDocument/2006/relationships/tags" Target="../tags/tag131.xml"/><Relationship Id="rId9" Type="http://schemas.openxmlformats.org/officeDocument/2006/relationships/tags" Target="../tags/tag136.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6.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slideMaster" Target="../slideMasters/slideMaster1.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slideMaster" Target="../slideMasters/slideMaster1.xml"/><Relationship Id="rId5" Type="http://schemas.openxmlformats.org/officeDocument/2006/relationships/tags" Target="../tags/tag165.xml"/><Relationship Id="rId10" Type="http://schemas.openxmlformats.org/officeDocument/2006/relationships/tags" Target="../tags/tag170.xml"/><Relationship Id="rId4" Type="http://schemas.openxmlformats.org/officeDocument/2006/relationships/tags" Target="../tags/tag164.xml"/><Relationship Id="rId9" Type="http://schemas.openxmlformats.org/officeDocument/2006/relationships/tags" Target="../tags/tag16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2.xml"/><Relationship Id="rId1" Type="http://schemas.openxmlformats.org/officeDocument/2006/relationships/tags" Target="../tags/tag17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jpg"/></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jpg"/></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0" Type="http://schemas.openxmlformats.org/officeDocument/2006/relationships/tags" Target="../tags/tag79.xml"/><Relationship Id="rId4" Type="http://schemas.openxmlformats.org/officeDocument/2006/relationships/tags" Target="../tags/tag73.xml"/><Relationship Id="rId9" Type="http://schemas.openxmlformats.org/officeDocument/2006/relationships/tags" Target="../tags/tag7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IFX_PresentationTitle">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3" name="Datumsplatzhalter 2">
            <a:extLst>
              <a:ext uri="{FF2B5EF4-FFF2-40B4-BE49-F238E27FC236}">
                <a16:creationId xmlns:a16="http://schemas.microsoft.com/office/drawing/2014/main" id="{ABE58EFA-3878-4F9F-9D5E-1ECAA5B12374}"/>
              </a:ext>
            </a:extLst>
          </p:cNvPr>
          <p:cNvSpPr>
            <a:spLocks noGrp="1"/>
          </p:cNvSpPr>
          <p:nvPr>
            <p:ph type="dt" sz="half" idx="10"/>
            <p:custDataLst>
              <p:tags r:id="rId2"/>
            </p:custDataLst>
          </p:nvPr>
        </p:nvSpPr>
        <p:spPr/>
        <p:txBody>
          <a:bodyPr/>
          <a:lstStyle>
            <a:lvl1pPr>
              <a:defRPr sz="700" baseline="0">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FA3F980F-0044-488A-BACE-F45489DB093A}"/>
              </a:ext>
            </a:extLst>
          </p:cNvPr>
          <p:cNvSpPr>
            <a:spLocks noGrp="1"/>
          </p:cNvSpPr>
          <p:nvPr>
            <p:ph type="ftr" sz="quarter" idx="11"/>
            <p:custDataLst>
              <p:tags r:id="rId3"/>
            </p:custDataLst>
          </p:nvPr>
        </p:nvSpPr>
        <p:spPr/>
        <p:txBody>
          <a:bodyPr/>
          <a:lstStyle>
            <a:lvl1pPr>
              <a:defRPr sz="700" baseline="0">
                <a:latin typeface="+mn-lt"/>
                <a:ea typeface="+mn-ea"/>
                <a:cs typeface="+mn-cs"/>
              </a:defRPr>
            </a:lvl1pPr>
          </a:lstStyle>
          <a:p>
            <a:endParaRPr lang="en-US" dirty="0"/>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Freeform: Shape 22">
            <a:extLst>
              <a:ext uri="{FF2B5EF4-FFF2-40B4-BE49-F238E27FC236}">
                <a16:creationId xmlns:a16="http://schemas.microsoft.com/office/drawing/2014/main" id="{4B346A59-9889-4A74-811F-F8B2A7A50914}"/>
              </a:ext>
            </a:extLst>
          </p:cNvPr>
          <p:cNvSpPr>
            <a:spLocks/>
          </p:cNvSpPr>
          <p:nvPr/>
        </p:nvSpPr>
        <p:spPr bwMode="auto">
          <a:xfrm>
            <a:off x="0" y="71"/>
            <a:ext cx="12193200" cy="5157050"/>
          </a:xfrm>
          <a:custGeom>
            <a:avLst/>
            <a:gdLst>
              <a:gd name="connsiteX0" fmla="*/ 0 w 12193200"/>
              <a:gd name="connsiteY0" fmla="*/ 3366894 h 5157050"/>
              <a:gd name="connsiteX1" fmla="*/ 2568686 w 12193200"/>
              <a:gd name="connsiteY1" fmla="*/ 4457237 h 5157050"/>
              <a:gd name="connsiteX2" fmla="*/ 2562846 w 12193200"/>
              <a:gd name="connsiteY2" fmla="*/ 4486161 h 5157050"/>
              <a:gd name="connsiteX3" fmla="*/ 2638446 w 12193200"/>
              <a:gd name="connsiteY3" fmla="*/ 4561761 h 5157050"/>
              <a:gd name="connsiteX4" fmla="*/ 2647621 w 12193200"/>
              <a:gd name="connsiteY4" fmla="*/ 4559909 h 5157050"/>
              <a:gd name="connsiteX5" fmla="*/ 2722582 w 12193200"/>
              <a:gd name="connsiteY5" fmla="*/ 5033199 h 5157050"/>
              <a:gd name="connsiteX6" fmla="*/ 0 w 12193200"/>
              <a:gd name="connsiteY6" fmla="*/ 5157050 h 5157050"/>
              <a:gd name="connsiteX7" fmla="*/ 9696957 w 12193200"/>
              <a:gd name="connsiteY7" fmla="*/ 2861253 h 5157050"/>
              <a:gd name="connsiteX8" fmla="*/ 8379344 w 12193200"/>
              <a:gd name="connsiteY8" fmla="*/ 4775870 h 5157050"/>
              <a:gd name="connsiteX9" fmla="*/ 2735348 w 12193200"/>
              <a:gd name="connsiteY9" fmla="*/ 5032618 h 5157050"/>
              <a:gd name="connsiteX10" fmla="*/ 2660080 w 12193200"/>
              <a:gd name="connsiteY10" fmla="*/ 4557394 h 5157050"/>
              <a:gd name="connsiteX11" fmla="*/ 2667873 w 12193200"/>
              <a:gd name="connsiteY11" fmla="*/ 4555820 h 5157050"/>
              <a:gd name="connsiteX12" fmla="*/ 2714046 w 12193200"/>
              <a:gd name="connsiteY12" fmla="*/ 4486161 h 5157050"/>
              <a:gd name="connsiteX13" fmla="*/ 2711582 w 12193200"/>
              <a:gd name="connsiteY13" fmla="*/ 4473954 h 5157050"/>
              <a:gd name="connsiteX14" fmla="*/ 12193200 w 12193200"/>
              <a:gd name="connsiteY14" fmla="*/ 2284950 h 5157050"/>
              <a:gd name="connsiteX15" fmla="*/ 12193200 w 12193200"/>
              <a:gd name="connsiteY15" fmla="*/ 4602376 h 5157050"/>
              <a:gd name="connsiteX16" fmla="*/ 8395259 w 12193200"/>
              <a:gd name="connsiteY16" fmla="*/ 4775146 h 5157050"/>
              <a:gd name="connsiteX17" fmla="*/ 9715286 w 12193200"/>
              <a:gd name="connsiteY17" fmla="*/ 2857021 h 5157050"/>
              <a:gd name="connsiteX18" fmla="*/ 11681447 w 12193200"/>
              <a:gd name="connsiteY18" fmla="*/ 0 h 5157050"/>
              <a:gd name="connsiteX19" fmla="*/ 12193200 w 12193200"/>
              <a:gd name="connsiteY19" fmla="*/ 0 h 5157050"/>
              <a:gd name="connsiteX20" fmla="*/ 12193200 w 12193200"/>
              <a:gd name="connsiteY20" fmla="*/ 2271916 h 5157050"/>
              <a:gd name="connsiteX21" fmla="*/ 9725950 w 12193200"/>
              <a:gd name="connsiteY21" fmla="*/ 2841525 h 5157050"/>
              <a:gd name="connsiteX22" fmla="*/ 0 w 12193200"/>
              <a:gd name="connsiteY22" fmla="*/ 0 h 5157050"/>
              <a:gd name="connsiteX23" fmla="*/ 11666031 w 12193200"/>
              <a:gd name="connsiteY23" fmla="*/ 0 h 5157050"/>
              <a:gd name="connsiteX24" fmla="*/ 9707621 w 12193200"/>
              <a:gd name="connsiteY24" fmla="*/ 2845757 h 5157050"/>
              <a:gd name="connsiteX25" fmla="*/ 2709068 w 12193200"/>
              <a:gd name="connsiteY25" fmla="*/ 4461501 h 5157050"/>
              <a:gd name="connsiteX26" fmla="*/ 2708105 w 12193200"/>
              <a:gd name="connsiteY26" fmla="*/ 4456734 h 5157050"/>
              <a:gd name="connsiteX27" fmla="*/ 2638446 w 12193200"/>
              <a:gd name="connsiteY27" fmla="*/ 4410561 h 5157050"/>
              <a:gd name="connsiteX28" fmla="*/ 2584989 w 12193200"/>
              <a:gd name="connsiteY28" fmla="*/ 4432704 h 5157050"/>
              <a:gd name="connsiteX29" fmla="*/ 2575734 w 12193200"/>
              <a:gd name="connsiteY29" fmla="*/ 4446431 h 5157050"/>
              <a:gd name="connsiteX30" fmla="*/ 0 w 12193200"/>
              <a:gd name="connsiteY30" fmla="*/ 3353098 h 515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3200" h="5157050">
                <a:moveTo>
                  <a:pt x="0" y="3366894"/>
                </a:moveTo>
                <a:lnTo>
                  <a:pt x="2568686" y="4457237"/>
                </a:lnTo>
                <a:lnTo>
                  <a:pt x="2562846" y="4486161"/>
                </a:lnTo>
                <a:cubicBezTo>
                  <a:pt x="2562846" y="4527914"/>
                  <a:pt x="2596693" y="4561761"/>
                  <a:pt x="2638446" y="4561761"/>
                </a:cubicBezTo>
                <a:lnTo>
                  <a:pt x="2647621" y="4559909"/>
                </a:lnTo>
                <a:lnTo>
                  <a:pt x="2722582" y="5033199"/>
                </a:lnTo>
                <a:lnTo>
                  <a:pt x="0" y="5157050"/>
                </a:lnTo>
                <a:close/>
                <a:moveTo>
                  <a:pt x="9696957" y="2861253"/>
                </a:moveTo>
                <a:lnTo>
                  <a:pt x="8379344" y="4775870"/>
                </a:lnTo>
                <a:lnTo>
                  <a:pt x="2735348" y="5032618"/>
                </a:lnTo>
                <a:lnTo>
                  <a:pt x="2660080" y="4557394"/>
                </a:lnTo>
                <a:lnTo>
                  <a:pt x="2667873" y="4555820"/>
                </a:lnTo>
                <a:cubicBezTo>
                  <a:pt x="2695007" y="4544344"/>
                  <a:pt x="2714046" y="4517476"/>
                  <a:pt x="2714046" y="4486161"/>
                </a:cubicBezTo>
                <a:lnTo>
                  <a:pt x="2711582" y="4473954"/>
                </a:lnTo>
                <a:close/>
                <a:moveTo>
                  <a:pt x="12193200" y="2284950"/>
                </a:moveTo>
                <a:lnTo>
                  <a:pt x="12193200" y="4602376"/>
                </a:lnTo>
                <a:lnTo>
                  <a:pt x="8395259" y="4775146"/>
                </a:lnTo>
                <a:lnTo>
                  <a:pt x="9715286" y="2857021"/>
                </a:lnTo>
                <a:close/>
                <a:moveTo>
                  <a:pt x="11681447" y="0"/>
                </a:moveTo>
                <a:lnTo>
                  <a:pt x="12193200" y="0"/>
                </a:lnTo>
                <a:lnTo>
                  <a:pt x="12193200" y="2271916"/>
                </a:lnTo>
                <a:lnTo>
                  <a:pt x="9725950" y="2841525"/>
                </a:lnTo>
                <a:close/>
                <a:moveTo>
                  <a:pt x="0" y="0"/>
                </a:moveTo>
                <a:lnTo>
                  <a:pt x="11666031" y="0"/>
                </a:lnTo>
                <a:lnTo>
                  <a:pt x="9707621" y="2845757"/>
                </a:lnTo>
                <a:lnTo>
                  <a:pt x="2709068" y="4461501"/>
                </a:lnTo>
                <a:lnTo>
                  <a:pt x="2708105" y="4456734"/>
                </a:lnTo>
                <a:cubicBezTo>
                  <a:pt x="2696629" y="4429600"/>
                  <a:pt x="2669761" y="4410561"/>
                  <a:pt x="2638446" y="4410561"/>
                </a:cubicBezTo>
                <a:cubicBezTo>
                  <a:pt x="2617570" y="4410561"/>
                  <a:pt x="2598670" y="4419023"/>
                  <a:pt x="2584989" y="4432704"/>
                </a:cubicBezTo>
                <a:lnTo>
                  <a:pt x="2575734" y="4446431"/>
                </a:lnTo>
                <a:lnTo>
                  <a:pt x="0" y="3353098"/>
                </a:lnTo>
                <a:close/>
              </a:path>
            </a:pathLst>
          </a:custGeom>
          <a:solidFill>
            <a:schemeClr val="accent3"/>
          </a:solidFill>
          <a:ln w="9525">
            <a:noFill/>
            <a:miter lim="800000"/>
            <a:headEnd/>
            <a:tailEnd/>
          </a:ln>
        </p:spPr>
        <p:txBody>
          <a:bodyPr wrap="square" lIns="72000" tIns="72000" rIns="72000" bIns="72000" rtlCol="0" anchor="ctr">
            <a:noAutofit/>
          </a:bodyPr>
          <a:lstStyle/>
          <a:p>
            <a:pPr algn="ctr" eaLnBrk="0" hangingPunct="0"/>
            <a:endParaRPr lang="en-US" sz="1600" baseline="0" noProof="0" dirty="0">
              <a:latin typeface="+mn-lt"/>
              <a:ea typeface="+mn-ea"/>
              <a:cs typeface="+mn-cs"/>
            </a:endParaRP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nvPr>
        </p:nvSpPr>
        <p:spPr>
          <a:xfrm>
            <a:off x="624000" y="1846800"/>
            <a:ext cx="8280000" cy="648000"/>
          </a:xfrm>
        </p:spPr>
        <p:txBody>
          <a:bodyPr anchor="b"/>
          <a:lstStyle>
            <a:lvl1pPr algn="l">
              <a:defRPr sz="3600" baseline="0">
                <a:latin typeface="+mj-lt"/>
                <a:ea typeface="+mj-ea"/>
                <a:cs typeface="+mj-cs"/>
              </a:defRPr>
            </a:lvl1pPr>
          </a:lstStyle>
          <a:p>
            <a:r>
              <a:rPr lang="en-US" noProof="0" dirty="0"/>
              <a:t>Please type in title</a:t>
            </a:r>
          </a:p>
        </p:txBody>
      </p:sp>
      <p:sp>
        <p:nvSpPr>
          <p:cNvPr id="30" name="Subtitle"/>
          <p:cNvSpPr>
            <a:spLocks noGrp="1"/>
          </p:cNvSpPr>
          <p:nvPr>
            <p:ph type="subTitle" idx="1" hasCustomPrompt="1"/>
          </p:nvPr>
        </p:nvSpPr>
        <p:spPr>
          <a:xfrm>
            <a:off x="624000" y="5662774"/>
            <a:ext cx="8280000" cy="612000"/>
          </a:xfrm>
          <a:prstGeom prst="rect">
            <a:avLst/>
          </a:prstGeom>
        </p:spPr>
        <p:txBody>
          <a:bodyPr vert="horz" wrap="square" lIns="0" tIns="0" rIns="0" bIns="0" rtlCol="0" anchor="b" anchorCtr="0">
            <a:noAutofit/>
          </a:bodyPr>
          <a:lstStyle>
            <a:lvl1pPr marL="0" indent="0" algn="l">
              <a:spcAft>
                <a:spcPts val="0"/>
              </a:spcAft>
              <a:buNone/>
              <a:defRPr lang="en-GB" sz="20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5" name="Foliennummernplatzhalter 4">
            <a:extLst>
              <a:ext uri="{FF2B5EF4-FFF2-40B4-BE49-F238E27FC236}">
                <a16:creationId xmlns:a16="http://schemas.microsoft.com/office/drawing/2014/main" id="{C1CFB9C9-F276-4301-B6CA-402A2B1FF390}"/>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4"/>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E30034"/>
                </a:solidFill>
                <a:latin typeface="+mn-lt"/>
                <a:ea typeface="+mn-ea"/>
                <a:cs typeface="+mn-cs"/>
              </a:rPr>
              <a:t>Restricted</a:t>
            </a:r>
            <a:endParaRPr lang="en-US" sz="1200" kern="0" baseline="0" noProof="0" dirty="0">
              <a:solidFill>
                <a:srgbClr val="E30034"/>
              </a:solidFill>
              <a:latin typeface="+mn-lt"/>
              <a:ea typeface="+mn-ea"/>
              <a:cs typeface="+mn-cs"/>
            </a:endParaRP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5"/>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dirty="0">
                <a:solidFill>
                  <a:srgbClr val="928285"/>
                </a:solidFill>
                <a:latin typeface="+mn-lt"/>
                <a:ea typeface="+mn-ea"/>
                <a:cs typeface="+mn-cs"/>
              </a:rPr>
              <a:t>restricted</a:t>
            </a: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6"/>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Owner:   Doc ID:   Vers.: ]</a:t>
            </a:r>
            <a:endParaRPr lang="en-US" sz="1200" kern="0" baseline="0" noProof="0" dirty="0">
              <a:solidFill>
                <a:srgbClr val="928285"/>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7"/>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 DRAFT -</a:t>
            </a:r>
            <a:endParaRPr lang="en-US" sz="1200" kern="0" baseline="0" noProof="0" dirty="0">
              <a:solidFill>
                <a:srgbClr val="928285"/>
              </a:solidFill>
              <a:latin typeface="+mn-lt"/>
              <a:ea typeface="+mn-ea"/>
              <a:cs typeface="+mn-cs"/>
            </a:endParaRPr>
          </a:p>
        </p:txBody>
      </p:sp>
      <p:grpSp>
        <p:nvGrpSpPr>
          <p:cNvPr id="7" name="Logo">
            <a:extLst>
              <a:ext uri="{FF2B5EF4-FFF2-40B4-BE49-F238E27FC236}">
                <a16:creationId xmlns:a16="http://schemas.microsoft.com/office/drawing/2014/main" id="{442953E7-0661-4596-B845-3CAECE60C379}"/>
              </a:ext>
            </a:extLst>
          </p:cNvPr>
          <p:cNvGrpSpPr/>
          <p:nvPr/>
        </p:nvGrpSpPr>
        <p:grpSpPr>
          <a:xfrm>
            <a:off x="9738355" y="5453288"/>
            <a:ext cx="1830253" cy="800431"/>
            <a:chOff x="9738355" y="5453288"/>
            <a:chExt cx="1830253" cy="800431"/>
          </a:xfrm>
        </p:grpSpPr>
        <p:sp>
          <p:nvSpPr>
            <p:cNvPr id="13" name="Freeform: Shape 12">
              <a:extLst>
                <a:ext uri="{FF2B5EF4-FFF2-40B4-BE49-F238E27FC236}">
                  <a16:creationId xmlns:a16="http://schemas.microsoft.com/office/drawing/2014/main" id="{1C766C59-49C3-4476-A96B-266E072BCA70}"/>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baseline="0" noProof="0" dirty="0">
                <a:latin typeface="+mn-lt"/>
                <a:ea typeface="+mn-ea"/>
                <a:cs typeface="+mn-cs"/>
              </a:endParaRPr>
            </a:p>
          </p:txBody>
        </p:sp>
        <p:sp>
          <p:nvSpPr>
            <p:cNvPr id="14" name="Freeform: Shape 13">
              <a:extLst>
                <a:ext uri="{FF2B5EF4-FFF2-40B4-BE49-F238E27FC236}">
                  <a16:creationId xmlns:a16="http://schemas.microsoft.com/office/drawing/2014/main" id="{6A172B81-6FC0-4237-BB10-33D4A26CF8E7}"/>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baseline="0" noProof="0" dirty="0">
                <a:latin typeface="+mn-lt"/>
                <a:ea typeface="+mn-ea"/>
                <a:cs typeface="+mn-cs"/>
              </a:endParaRPr>
            </a:p>
          </p:txBody>
        </p:sp>
      </p:gr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Tree>
    <p:extLst>
      <p:ext uri="{BB962C8B-B14F-4D97-AF65-F5344CB8AC3E}">
        <p14:creationId xmlns:p14="http://schemas.microsoft.com/office/powerpoint/2010/main" val="115123924"/>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fourObj" preserve="1">
  <p:cSld name="IFX_Title_and_Four_Conten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2B744C9A-3E28-41A1-B280-4B0E6857465E}"/>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A2E81F6B-7A5A-40BE-84FE-8AA7F4B3C299}"/>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3"/>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5"/>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6"/>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7"/>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8"/>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9"/>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liennummernplatzhalter 4">
            <a:extLst>
              <a:ext uri="{FF2B5EF4-FFF2-40B4-BE49-F238E27FC236}">
                <a16:creationId xmlns:a16="http://schemas.microsoft.com/office/drawing/2014/main" id="{37FFF958-513A-44FC-8079-AAD801EBEEC5}"/>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1039252951"/>
      </p:ext>
    </p:extLst>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AndTwoObj" preserve="1">
  <p:cSld name="IFX_Row_and_Two_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0D6D7731-9648-4564-87DB-915208CD7212}"/>
              </a:ext>
            </a:extLst>
          </p:cNvPr>
          <p:cNvSpPr>
            <a:spLocks noGrp="1"/>
          </p:cNvSpPr>
          <p:nvPr>
            <p:ph type="dt" sz="half"/>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DC345672-9F96-40B7-9DDE-B649DFA231F3}"/>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3"/>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5"/>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6"/>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7"/>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8"/>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9"/>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liennummernplatzhalter 4">
            <a:extLst>
              <a:ext uri="{FF2B5EF4-FFF2-40B4-BE49-F238E27FC236}">
                <a16:creationId xmlns:a16="http://schemas.microsoft.com/office/drawing/2014/main" id="{D1350735-907B-419A-A650-7E107D5D5B4E}"/>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3941694816"/>
      </p:ext>
    </p:extLst>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xOverObj" preserve="1">
  <p:cSld name="IFX_Row_Two_Columns_Row">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52ECE321-80AE-4AAB-B4E8-65BE47AA097B}"/>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B964A315-1FB2-4B1C-BFC6-90B74007D33C}"/>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3"/>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5"/>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6"/>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7"/>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8"/>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9"/>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5" name="Foliennummernplatzhalter 4">
            <a:extLst>
              <a:ext uri="{FF2B5EF4-FFF2-40B4-BE49-F238E27FC236}">
                <a16:creationId xmlns:a16="http://schemas.microsoft.com/office/drawing/2014/main" id="{8B797D24-B143-4681-B791-784DB2E4C9B4}"/>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235032962"/>
      </p:ext>
    </p:extLst>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AndTx" preserve="1">
  <p:cSld name="IFX_Title_and_Three_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242F4A63-A71E-47E1-B5ED-C3E8B866AA4B}"/>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02A6A6BB-D790-4227-AB02-918784C5744F}"/>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3"/>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5"/>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6"/>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7"/>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8"/>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10"/>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liennummernplatzhalter 4">
            <a:extLst>
              <a:ext uri="{FF2B5EF4-FFF2-40B4-BE49-F238E27FC236}">
                <a16:creationId xmlns:a16="http://schemas.microsoft.com/office/drawing/2014/main" id="{234821C5-A44A-4E37-9B1B-A5BC15EDB520}"/>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963728697"/>
      </p:ext>
    </p:extLst>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OverTx" preserve="1">
  <p:cSld name="IFX_Row_and_Three_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D6B00D69-600B-43FD-BCBB-E2F13B2EBA05}"/>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138C5F65-2693-4BFB-B39D-DF2898B8CEF8}"/>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3"/>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5"/>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6"/>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7"/>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8"/>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9"/>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liennummernplatzhalter 4">
            <a:extLst>
              <a:ext uri="{FF2B5EF4-FFF2-40B4-BE49-F238E27FC236}">
                <a16:creationId xmlns:a16="http://schemas.microsoft.com/office/drawing/2014/main" id="{CDE9E52D-1F9F-4AD1-B566-E529D0679896}"/>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99274557"/>
      </p:ext>
    </p:extLst>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xAndMedia" preserve="1">
  <p:cSld name="IFX_Four_Columns">
    <p:spTree>
      <p:nvGrpSpPr>
        <p:cNvPr id="1" name=""/>
        <p:cNvGrpSpPr/>
        <p:nvPr/>
      </p:nvGrpSpPr>
      <p:grpSpPr>
        <a:xfrm>
          <a:off x="0" y="0"/>
          <a:ext cx="0" cy="0"/>
          <a:chOff x="0" y="0"/>
          <a:chExt cx="0" cy="0"/>
        </a:xfrm>
      </p:grpSpPr>
      <p:sp>
        <p:nvSpPr>
          <p:cNvPr id="18" name="Datumsplatzhalter 17">
            <a:extLst>
              <a:ext uri="{FF2B5EF4-FFF2-40B4-BE49-F238E27FC236}">
                <a16:creationId xmlns:a16="http://schemas.microsoft.com/office/drawing/2014/main" id="{372A3715-0E5E-42FF-A6C4-92225B9F8F77}"/>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19" name="Fußzeilenplatzhalter 18">
            <a:extLst>
              <a:ext uri="{FF2B5EF4-FFF2-40B4-BE49-F238E27FC236}">
                <a16:creationId xmlns:a16="http://schemas.microsoft.com/office/drawing/2014/main" id="{23F787D3-4B62-42A2-AFCE-AA777C9C3035}"/>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3"/>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5"/>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6"/>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7"/>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8"/>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9"/>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10"/>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Foliennummernplatzhalter 19">
            <a:extLst>
              <a:ext uri="{FF2B5EF4-FFF2-40B4-BE49-F238E27FC236}">
                <a16:creationId xmlns:a16="http://schemas.microsoft.com/office/drawing/2014/main" id="{BD5A4295-D174-43D0-AC9F-BAF83A08EAF9}"/>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3390644480"/>
      </p:ext>
    </p:extLst>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OverTx" preserve="1">
  <p:cSld name="IFX_Row_and_Four_Columns">
    <p:spTree>
      <p:nvGrpSpPr>
        <p:cNvPr id="1" name=""/>
        <p:cNvGrpSpPr/>
        <p:nvPr/>
      </p:nvGrpSpPr>
      <p:grpSpPr>
        <a:xfrm>
          <a:off x="0" y="0"/>
          <a:ext cx="0" cy="0"/>
          <a:chOff x="0" y="0"/>
          <a:chExt cx="0" cy="0"/>
        </a:xfrm>
      </p:grpSpPr>
      <p:sp>
        <p:nvSpPr>
          <p:cNvPr id="21" name="Datumsplatzhalter 20">
            <a:extLst>
              <a:ext uri="{FF2B5EF4-FFF2-40B4-BE49-F238E27FC236}">
                <a16:creationId xmlns:a16="http://schemas.microsoft.com/office/drawing/2014/main" id="{69B33B90-61EE-4408-9EB4-5373294010AE}"/>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22" name="Fußzeilenplatzhalter 21">
            <a:extLst>
              <a:ext uri="{FF2B5EF4-FFF2-40B4-BE49-F238E27FC236}">
                <a16:creationId xmlns:a16="http://schemas.microsoft.com/office/drawing/2014/main" id="{47DB5FDC-4AAF-4BD1-AE20-F3F9E42295EF}"/>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3"/>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5"/>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6"/>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7"/>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8"/>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10"/>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Foliennummernplatzhalter 22">
            <a:extLst>
              <a:ext uri="{FF2B5EF4-FFF2-40B4-BE49-F238E27FC236}">
                <a16:creationId xmlns:a16="http://schemas.microsoft.com/office/drawing/2014/main" id="{2E15E128-2D89-4D73-B9B1-135BF3E1BD7B}"/>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1431510376"/>
      </p:ext>
    </p:extLst>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IFX_Empty">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86B4EFB-91E8-4E2F-80DA-ED306A48A598}"/>
              </a:ext>
            </a:extLst>
          </p:cNvPr>
          <p:cNvSpPr>
            <a:spLocks noGrp="1"/>
          </p:cNvSpPr>
          <p:nvPr>
            <p:ph type="dt" sz="half" idx="10"/>
            <p:custDataLst>
              <p:tags r:id="rId1"/>
            </p:custDataLst>
          </p:nvPr>
        </p:nvSpPr>
        <p:spPr/>
        <p:txBody>
          <a:bodyPr/>
          <a:lstStyle>
            <a:lvl1pPr>
              <a:defRPr baseline="0">
                <a:latin typeface="+mn-lt"/>
                <a:ea typeface="+mn-ea"/>
                <a:cs typeface="+mn-cs"/>
              </a:defRPr>
            </a:lvl1pPr>
          </a:lstStyle>
          <a:p>
            <a:endParaRPr lang="en-US" b="1" dirty="0"/>
          </a:p>
        </p:txBody>
      </p:sp>
      <p:sp>
        <p:nvSpPr>
          <p:cNvPr id="3" name="Fußzeilenplatzhalter 2">
            <a:extLst>
              <a:ext uri="{FF2B5EF4-FFF2-40B4-BE49-F238E27FC236}">
                <a16:creationId xmlns:a16="http://schemas.microsoft.com/office/drawing/2014/main" id="{F61780B0-A5A9-413D-9813-D40F26959BE9}"/>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3"/>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rgbClr val="928285"/>
                </a:solidFill>
                <a:latin typeface="+mn-lt"/>
                <a:ea typeface="+mn-ea"/>
                <a:cs typeface="+mn-cs"/>
              </a:rPr>
              <a:t>[Owner:   Doc ID:   Vers.: ]</a:t>
            </a:r>
          </a:p>
        </p:txBody>
      </p:sp>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4"/>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latin typeface="+mn-lt"/>
              <a:ea typeface="+mn-ea"/>
              <a:cs typeface="+mn-cs"/>
            </a:endParaRP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5"/>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6"/>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 DRAFT -</a:t>
            </a: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7"/>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rgbClr val="928285"/>
                </a:solidFill>
                <a:latin typeface="+mn-lt"/>
                <a:ea typeface="+mn-ea"/>
                <a:cs typeface="+mn-cs"/>
              </a:rPr>
              <a:t>Copyright © Infineon Technologies AG 2021.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8"/>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928285"/>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10"/>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rgbClr val="928285"/>
                </a:solidFill>
                <a:latin typeface="+mn-lt"/>
                <a:ea typeface="+mn-ea"/>
                <a:cs typeface="+mn-cs"/>
              </a:rPr>
              <a:t>2021-02-08</a:t>
            </a:r>
          </a:p>
        </p:txBody>
      </p:sp>
      <p:sp>
        <p:nvSpPr>
          <p:cNvPr id="4" name="Foliennummernplatzhalter 3">
            <a:extLst>
              <a:ext uri="{FF2B5EF4-FFF2-40B4-BE49-F238E27FC236}">
                <a16:creationId xmlns:a16="http://schemas.microsoft.com/office/drawing/2014/main" id="{B725A68B-642B-48A2-837B-35BF31BCB20B}"/>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Tree>
    <p:extLst>
      <p:ext uri="{BB962C8B-B14F-4D97-AF65-F5344CB8AC3E}">
        <p14:creationId xmlns:p14="http://schemas.microsoft.com/office/powerpoint/2010/main" val="2336651883"/>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FX_Fullpic">
    <p:bg>
      <p:bgPr>
        <a:solidFill>
          <a:schemeClr val="accent2"/>
        </a:solidFill>
        <a:effectLst/>
      </p:bgPr>
    </p:bg>
    <p:spTree>
      <p:nvGrpSpPr>
        <p:cNvPr id="1" name=""/>
        <p:cNvGrpSpPr/>
        <p:nvPr/>
      </p:nvGrpSpPr>
      <p:grpSpPr>
        <a:xfrm>
          <a:off x="0" y="0"/>
          <a:ext cx="0" cy="0"/>
          <a:chOff x="0" y="0"/>
          <a:chExt cx="0" cy="0"/>
        </a:xfrm>
      </p:grpSpPr>
      <p:sp>
        <p:nvSpPr>
          <p:cNvPr id="10" name="Datumsplatzhalter 9">
            <a:extLst>
              <a:ext uri="{FF2B5EF4-FFF2-40B4-BE49-F238E27FC236}">
                <a16:creationId xmlns:a16="http://schemas.microsoft.com/office/drawing/2014/main" id="{E0CD4796-07E8-4C3E-9E42-EFD903405D2A}"/>
              </a:ext>
            </a:extLst>
          </p:cNvPr>
          <p:cNvSpPr>
            <a:spLocks noGrp="1"/>
          </p:cNvSpPr>
          <p:nvPr>
            <p:ph type="dt" sz="half" idx="10"/>
            <p:custDataLst>
              <p:tags r:id="rId1"/>
            </p:custDataLst>
          </p:nvPr>
        </p:nvSpPr>
        <p:spPr/>
        <p:txBody>
          <a:bodyPr/>
          <a:lstStyle>
            <a:lvl1pPr>
              <a:defRPr baseline="0">
                <a:latin typeface="+mn-lt"/>
                <a:ea typeface="+mn-ea"/>
                <a:cs typeface="+mn-cs"/>
              </a:defRPr>
            </a:lvl1pPr>
          </a:lstStyle>
          <a:p>
            <a:endParaRPr lang="en-US" b="1" dirty="0"/>
          </a:p>
        </p:txBody>
      </p:sp>
      <p:sp>
        <p:nvSpPr>
          <p:cNvPr id="11" name="Fußzeilenplatzhalter 10">
            <a:extLst>
              <a:ext uri="{FF2B5EF4-FFF2-40B4-BE49-F238E27FC236}">
                <a16:creationId xmlns:a16="http://schemas.microsoft.com/office/drawing/2014/main" id="{94FA5AEB-7E90-465C-9D8B-539FD03B658B}"/>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3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chemeClr val="bg2"/>
          </a:solidFill>
        </p:spPr>
        <p:txBody>
          <a:bodyPr wrap="square" tIns="2880000">
            <a:noAutofit/>
          </a:bodyPr>
          <a:lstStyle>
            <a:lvl1pPr algn="ctr">
              <a:buNone/>
              <a:defRPr baseline="0">
                <a:latin typeface="+mn-lt"/>
                <a:ea typeface="+mn-ea"/>
                <a:cs typeface="+mn-cs"/>
              </a:defRPr>
            </a:lvl1pPr>
          </a:lstStyle>
          <a:p>
            <a:r>
              <a:rPr lang="en-US" noProof="0"/>
              <a:t>Click icon to add picture</a:t>
            </a:r>
          </a:p>
        </p:txBody>
      </p:sp>
      <p:sp>
        <p:nvSpPr>
          <p:cNvPr id="12" name="Foliennummernplatzhalter 11">
            <a:extLst>
              <a:ext uri="{FF2B5EF4-FFF2-40B4-BE49-F238E27FC236}">
                <a16:creationId xmlns:a16="http://schemas.microsoft.com/office/drawing/2014/main" id="{E1FF4538-2956-4169-8F7A-EDA0A0E18913}"/>
              </a:ext>
            </a:extLst>
          </p:cNvPr>
          <p:cNvSpPr>
            <a:spLocks noGrp="1"/>
          </p:cNvSpPr>
          <p:nvPr>
            <p:ph type="sldNum" sz="quarter" idx="12"/>
          </p:nvPr>
        </p:nvSpPr>
        <p:spPr/>
        <p:txBody>
          <a:bodyPr/>
          <a:lstStyle>
            <a:lvl1pPr>
              <a:defRPr baseline="0">
                <a:noFill/>
                <a:latin typeface="+mn-lt"/>
                <a:ea typeface="+mn-ea"/>
                <a:cs typeface="+mn-cs"/>
              </a:defRPr>
            </a:lvl1pPr>
          </a:lstStyle>
          <a:p>
            <a:fld id="{BA925C6C-614A-4D70-B313-7ADCEE25F184}" type="slidenum">
              <a:rPr lang="en-US" smtClean="0"/>
              <a:pPr/>
              <a:t>‹#›</a:t>
            </a:fld>
            <a:endParaRPr lang="en-US"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1289415618"/>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reserve="1">
  <p:cSld name="IFX_Final_Claim">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DF9C59B-F159-49DD-B32E-256DB2F43DC5}"/>
              </a:ext>
            </a:extLst>
          </p:cNvPr>
          <p:cNvSpPr>
            <a:spLocks noGrp="1"/>
          </p:cNvSpPr>
          <p:nvPr>
            <p:ph type="dt" sz="half" idx="10"/>
            <p:custDataLst>
              <p:tags r:id="rId1"/>
            </p:custDataLst>
          </p:nvPr>
        </p:nvSpPr>
        <p:spPr/>
        <p:txBody>
          <a:bodyPr/>
          <a:lstStyle>
            <a:lvl1pPr>
              <a:defRPr baseline="0">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F56C70C5-D15A-4C15-9BA0-D19C6FEB008F}"/>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pic>
        <p:nvPicPr>
          <p:cNvPr id="3" name="Logo - Claim"/>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4558552"/>
            <a:ext cx="12192000" cy="685801"/>
          </a:xfrm>
          <a:prstGeom prst="rect">
            <a:avLst/>
          </a:prstGeom>
        </p:spPr>
      </p:pic>
      <p:sp>
        <p:nvSpPr>
          <p:cNvPr id="5" name="Foliennummernplatzhalter 4">
            <a:extLst>
              <a:ext uri="{FF2B5EF4-FFF2-40B4-BE49-F238E27FC236}">
                <a16:creationId xmlns:a16="http://schemas.microsoft.com/office/drawing/2014/main" id="{5AAF6BEE-C0FC-4CC7-9244-813589CFDBC2}"/>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7" name="LOGO PROTECTION" hidden="1">
            <a:extLst>
              <a:ext uri="{FF2B5EF4-FFF2-40B4-BE49-F238E27FC236}">
                <a16:creationId xmlns:a16="http://schemas.microsoft.com/office/drawing/2014/main" id="{8182E335-5A52-4E3C-BCEC-9507D81BA511}"/>
              </a:ext>
            </a:extLst>
          </p:cNvPr>
          <p:cNvSpPr/>
          <p:nvPr>
            <p:custDataLst>
              <p:tags r:id="rId3"/>
            </p:custDataLst>
          </p:nvPr>
        </p:nvSpPr>
        <p:spPr bwMode="auto">
          <a:xfrm>
            <a:off x="1811525" y="1376772"/>
            <a:ext cx="8568952" cy="4176464"/>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9" name="Freeform: Shape 8">
            <a:extLst>
              <a:ext uri="{FF2B5EF4-FFF2-40B4-BE49-F238E27FC236}">
                <a16:creationId xmlns:a16="http://schemas.microsoft.com/office/drawing/2014/main" id="{4F214AAF-1E9D-4FD3-8516-DCD8CEDA1EA1}"/>
              </a:ext>
            </a:extLst>
          </p:cNvPr>
          <p:cNvSpPr/>
          <p:nvPr/>
        </p:nvSpPr>
        <p:spPr>
          <a:xfrm>
            <a:off x="4444793" y="1933900"/>
            <a:ext cx="3429317" cy="1125638"/>
          </a:xfrm>
          <a:custGeom>
            <a:avLst/>
            <a:gdLst>
              <a:gd name="connsiteX0" fmla="*/ 2720290 w 3429317"/>
              <a:gd name="connsiteY0" fmla="*/ 1125639 h 1125638"/>
              <a:gd name="connsiteX1" fmla="*/ 2937850 w 3429317"/>
              <a:gd name="connsiteY1" fmla="*/ 788574 h 1125638"/>
              <a:gd name="connsiteX2" fmla="*/ 2720290 w 3429317"/>
              <a:gd name="connsiteY2" fmla="*/ 459348 h 1125638"/>
              <a:gd name="connsiteX3" fmla="*/ 2505859 w 3429317"/>
              <a:gd name="connsiteY3" fmla="*/ 791710 h 1125638"/>
              <a:gd name="connsiteX4" fmla="*/ 2720290 w 3429317"/>
              <a:gd name="connsiteY4" fmla="*/ 1125639 h 1125638"/>
              <a:gd name="connsiteX5" fmla="*/ 2638900 w 3429317"/>
              <a:gd name="connsiteY5" fmla="*/ 787007 h 1125638"/>
              <a:gd name="connsiteX6" fmla="*/ 2720290 w 3429317"/>
              <a:gd name="connsiteY6" fmla="*/ 572226 h 1125638"/>
              <a:gd name="connsiteX7" fmla="*/ 2804810 w 3429317"/>
              <a:gd name="connsiteY7" fmla="*/ 790142 h 1125638"/>
              <a:gd name="connsiteX8" fmla="*/ 2723420 w 3429317"/>
              <a:gd name="connsiteY8" fmla="*/ 1015897 h 1125638"/>
              <a:gd name="connsiteX9" fmla="*/ 2638900 w 3429317"/>
              <a:gd name="connsiteY9" fmla="*/ 787007 h 1125638"/>
              <a:gd name="connsiteX10" fmla="*/ 2238213 w 3429317"/>
              <a:gd name="connsiteY10" fmla="*/ 1125639 h 1125638"/>
              <a:gd name="connsiteX11" fmla="*/ 2418209 w 3429317"/>
              <a:gd name="connsiteY11" fmla="*/ 1040981 h 1125638"/>
              <a:gd name="connsiteX12" fmla="*/ 2369688 w 3429317"/>
              <a:gd name="connsiteY12" fmla="*/ 950052 h 1125638"/>
              <a:gd name="connsiteX13" fmla="*/ 2249169 w 3429317"/>
              <a:gd name="connsiteY13" fmla="*/ 1012761 h 1125638"/>
              <a:gd name="connsiteX14" fmla="*/ 2161519 w 3429317"/>
              <a:gd name="connsiteY14" fmla="*/ 953187 h 1125638"/>
              <a:gd name="connsiteX15" fmla="*/ 2142737 w 3429317"/>
              <a:gd name="connsiteY15" fmla="*/ 841877 h 1125638"/>
              <a:gd name="connsiteX16" fmla="*/ 2142737 w 3429317"/>
              <a:gd name="connsiteY16" fmla="*/ 829335 h 1125638"/>
              <a:gd name="connsiteX17" fmla="*/ 2424470 w 3429317"/>
              <a:gd name="connsiteY17" fmla="*/ 829335 h 1125638"/>
              <a:gd name="connsiteX18" fmla="*/ 2424470 w 3429317"/>
              <a:gd name="connsiteY18" fmla="*/ 801116 h 1125638"/>
              <a:gd name="connsiteX19" fmla="*/ 2363428 w 3429317"/>
              <a:gd name="connsiteY19" fmla="*/ 526761 h 1125638"/>
              <a:gd name="connsiteX20" fmla="*/ 2222561 w 3429317"/>
              <a:gd name="connsiteY20" fmla="*/ 459348 h 1125638"/>
              <a:gd name="connsiteX21" fmla="*/ 2070738 w 3429317"/>
              <a:gd name="connsiteY21" fmla="*/ 542439 h 1125638"/>
              <a:gd name="connsiteX22" fmla="*/ 2012826 w 3429317"/>
              <a:gd name="connsiteY22" fmla="*/ 791710 h 1125638"/>
              <a:gd name="connsiteX23" fmla="*/ 2238213 w 3429317"/>
              <a:gd name="connsiteY23" fmla="*/ 1125639 h 1125638"/>
              <a:gd name="connsiteX24" fmla="*/ 2224126 w 3429317"/>
              <a:gd name="connsiteY24" fmla="*/ 562819 h 1125638"/>
              <a:gd name="connsiteX25" fmla="*/ 2286734 w 3429317"/>
              <a:gd name="connsiteY25" fmla="*/ 608284 h 1125638"/>
              <a:gd name="connsiteX26" fmla="*/ 2300820 w 3429317"/>
              <a:gd name="connsiteY26" fmla="*/ 725865 h 1125638"/>
              <a:gd name="connsiteX27" fmla="*/ 2142737 w 3429317"/>
              <a:gd name="connsiteY27" fmla="*/ 725865 h 1125638"/>
              <a:gd name="connsiteX28" fmla="*/ 2224126 w 3429317"/>
              <a:gd name="connsiteY28" fmla="*/ 562819 h 1125638"/>
              <a:gd name="connsiteX29" fmla="*/ 3041152 w 3429317"/>
              <a:gd name="connsiteY29" fmla="*/ 1109961 h 1125638"/>
              <a:gd name="connsiteX30" fmla="*/ 3163237 w 3429317"/>
              <a:gd name="connsiteY30" fmla="*/ 1109961 h 1125638"/>
              <a:gd name="connsiteX31" fmla="*/ 3163237 w 3429317"/>
              <a:gd name="connsiteY31" fmla="*/ 639639 h 1125638"/>
              <a:gd name="connsiteX32" fmla="*/ 3252452 w 3429317"/>
              <a:gd name="connsiteY32" fmla="*/ 583200 h 1125638"/>
              <a:gd name="connsiteX33" fmla="*/ 3293147 w 3429317"/>
              <a:gd name="connsiteY33" fmla="*/ 598877 h 1125638"/>
              <a:gd name="connsiteX34" fmla="*/ 3307233 w 3429317"/>
              <a:gd name="connsiteY34" fmla="*/ 681968 h 1125638"/>
              <a:gd name="connsiteX35" fmla="*/ 3307233 w 3429317"/>
              <a:gd name="connsiteY35" fmla="*/ 1109961 h 1125638"/>
              <a:gd name="connsiteX36" fmla="*/ 3429318 w 3429317"/>
              <a:gd name="connsiteY36" fmla="*/ 1109961 h 1125638"/>
              <a:gd name="connsiteX37" fmla="*/ 3429318 w 3429317"/>
              <a:gd name="connsiteY37" fmla="*/ 625529 h 1125638"/>
              <a:gd name="connsiteX38" fmla="*/ 3399579 w 3429317"/>
              <a:gd name="connsiteY38" fmla="*/ 509516 h 1125638"/>
              <a:gd name="connsiteX39" fmla="*/ 3299408 w 3429317"/>
              <a:gd name="connsiteY39" fmla="*/ 464052 h 1125638"/>
              <a:gd name="connsiteX40" fmla="*/ 3153845 w 3429317"/>
              <a:gd name="connsiteY40" fmla="*/ 534600 h 1125638"/>
              <a:gd name="connsiteX41" fmla="*/ 3138194 w 3429317"/>
              <a:gd name="connsiteY41" fmla="*/ 459348 h 1125638"/>
              <a:gd name="connsiteX42" fmla="*/ 3023935 w 3429317"/>
              <a:gd name="connsiteY42" fmla="*/ 489136 h 1125638"/>
              <a:gd name="connsiteX43" fmla="*/ 3039587 w 3429317"/>
              <a:gd name="connsiteY43" fmla="*/ 642774 h 1125638"/>
              <a:gd name="connsiteX44" fmla="*/ 3039587 w 3429317"/>
              <a:gd name="connsiteY44" fmla="*/ 1109961 h 1125638"/>
              <a:gd name="connsiteX45" fmla="*/ 1623096 w 3429317"/>
              <a:gd name="connsiteY45" fmla="*/ 534600 h 1125638"/>
              <a:gd name="connsiteX46" fmla="*/ 1607444 w 3429317"/>
              <a:gd name="connsiteY46" fmla="*/ 459348 h 1125638"/>
              <a:gd name="connsiteX47" fmla="*/ 1493185 w 3429317"/>
              <a:gd name="connsiteY47" fmla="*/ 489136 h 1125638"/>
              <a:gd name="connsiteX48" fmla="*/ 1508837 w 3429317"/>
              <a:gd name="connsiteY48" fmla="*/ 642774 h 1125638"/>
              <a:gd name="connsiteX49" fmla="*/ 1508837 w 3429317"/>
              <a:gd name="connsiteY49" fmla="*/ 1108394 h 1125638"/>
              <a:gd name="connsiteX50" fmla="*/ 1630922 w 3429317"/>
              <a:gd name="connsiteY50" fmla="*/ 1108394 h 1125638"/>
              <a:gd name="connsiteX51" fmla="*/ 1630922 w 3429317"/>
              <a:gd name="connsiteY51" fmla="*/ 638071 h 1125638"/>
              <a:gd name="connsiteX52" fmla="*/ 1720137 w 3429317"/>
              <a:gd name="connsiteY52" fmla="*/ 581632 h 1125638"/>
              <a:gd name="connsiteX53" fmla="*/ 1760832 w 3429317"/>
              <a:gd name="connsiteY53" fmla="*/ 597310 h 1125638"/>
              <a:gd name="connsiteX54" fmla="*/ 1774919 w 3429317"/>
              <a:gd name="connsiteY54" fmla="*/ 680400 h 1125638"/>
              <a:gd name="connsiteX55" fmla="*/ 1774919 w 3429317"/>
              <a:gd name="connsiteY55" fmla="*/ 1108394 h 1125638"/>
              <a:gd name="connsiteX56" fmla="*/ 1897003 w 3429317"/>
              <a:gd name="connsiteY56" fmla="*/ 1108394 h 1125638"/>
              <a:gd name="connsiteX57" fmla="*/ 1897003 w 3429317"/>
              <a:gd name="connsiteY57" fmla="*/ 625529 h 1125638"/>
              <a:gd name="connsiteX58" fmla="*/ 1867264 w 3429317"/>
              <a:gd name="connsiteY58" fmla="*/ 509516 h 1125638"/>
              <a:gd name="connsiteX59" fmla="*/ 1767093 w 3429317"/>
              <a:gd name="connsiteY59" fmla="*/ 464052 h 1125638"/>
              <a:gd name="connsiteX60" fmla="*/ 1623096 w 3429317"/>
              <a:gd name="connsiteY60" fmla="*/ 534600 h 1125638"/>
              <a:gd name="connsiteX61" fmla="*/ 129910 w 3429317"/>
              <a:gd name="connsiteY61" fmla="*/ 260245 h 1125638"/>
              <a:gd name="connsiteX62" fmla="*/ 259820 w 3429317"/>
              <a:gd name="connsiteY62" fmla="*/ 130123 h 1125638"/>
              <a:gd name="connsiteX63" fmla="*/ 129910 w 3429317"/>
              <a:gd name="connsiteY63" fmla="*/ 0 h 1125638"/>
              <a:gd name="connsiteX64" fmla="*/ 0 w 3429317"/>
              <a:gd name="connsiteY64" fmla="*/ 130123 h 1125638"/>
              <a:gd name="connsiteX65" fmla="*/ 129910 w 3429317"/>
              <a:gd name="connsiteY65" fmla="*/ 260245 h 1125638"/>
              <a:gd name="connsiteX66" fmla="*/ 729376 w 3429317"/>
              <a:gd name="connsiteY66" fmla="*/ 1109961 h 1125638"/>
              <a:gd name="connsiteX67" fmla="*/ 729376 w 3429317"/>
              <a:gd name="connsiteY67" fmla="*/ 625529 h 1125638"/>
              <a:gd name="connsiteX68" fmla="*/ 699637 w 3429317"/>
              <a:gd name="connsiteY68" fmla="*/ 509516 h 1125638"/>
              <a:gd name="connsiteX69" fmla="*/ 599465 w 3429317"/>
              <a:gd name="connsiteY69" fmla="*/ 464052 h 1125638"/>
              <a:gd name="connsiteX70" fmla="*/ 453903 w 3429317"/>
              <a:gd name="connsiteY70" fmla="*/ 534600 h 1125638"/>
              <a:gd name="connsiteX71" fmla="*/ 438251 w 3429317"/>
              <a:gd name="connsiteY71" fmla="*/ 459348 h 1125638"/>
              <a:gd name="connsiteX72" fmla="*/ 325558 w 3429317"/>
              <a:gd name="connsiteY72" fmla="*/ 490703 h 1125638"/>
              <a:gd name="connsiteX73" fmla="*/ 341210 w 3429317"/>
              <a:gd name="connsiteY73" fmla="*/ 644342 h 1125638"/>
              <a:gd name="connsiteX74" fmla="*/ 341210 w 3429317"/>
              <a:gd name="connsiteY74" fmla="*/ 1109961 h 1125638"/>
              <a:gd name="connsiteX75" fmla="*/ 463294 w 3429317"/>
              <a:gd name="connsiteY75" fmla="*/ 1109961 h 1125638"/>
              <a:gd name="connsiteX76" fmla="*/ 463294 w 3429317"/>
              <a:gd name="connsiteY76" fmla="*/ 639639 h 1125638"/>
              <a:gd name="connsiteX77" fmla="*/ 552510 w 3429317"/>
              <a:gd name="connsiteY77" fmla="*/ 583200 h 1125638"/>
              <a:gd name="connsiteX78" fmla="*/ 593205 w 3429317"/>
              <a:gd name="connsiteY78" fmla="*/ 598877 h 1125638"/>
              <a:gd name="connsiteX79" fmla="*/ 607291 w 3429317"/>
              <a:gd name="connsiteY79" fmla="*/ 681968 h 1125638"/>
              <a:gd name="connsiteX80" fmla="*/ 607291 w 3429317"/>
              <a:gd name="connsiteY80" fmla="*/ 1109961 h 1125638"/>
              <a:gd name="connsiteX81" fmla="*/ 729376 w 3429317"/>
              <a:gd name="connsiteY81" fmla="*/ 1109961 h 1125638"/>
              <a:gd name="connsiteX82" fmla="*/ 1291277 w 3429317"/>
              <a:gd name="connsiteY82" fmla="*/ 225755 h 1125638"/>
              <a:gd name="connsiteX83" fmla="*/ 1209887 w 3429317"/>
              <a:gd name="connsiteY83" fmla="*/ 307277 h 1125638"/>
              <a:gd name="connsiteX84" fmla="*/ 1289712 w 3429317"/>
              <a:gd name="connsiteY84" fmla="*/ 388800 h 1125638"/>
              <a:gd name="connsiteX85" fmla="*/ 1371101 w 3429317"/>
              <a:gd name="connsiteY85" fmla="*/ 307277 h 1125638"/>
              <a:gd name="connsiteX86" fmla="*/ 1291277 w 3429317"/>
              <a:gd name="connsiteY86" fmla="*/ 225755 h 1125638"/>
              <a:gd name="connsiteX87" fmla="*/ 71998 w 3429317"/>
              <a:gd name="connsiteY87" fmla="*/ 1109961 h 1125638"/>
              <a:gd name="connsiteX88" fmla="*/ 194083 w 3429317"/>
              <a:gd name="connsiteY88" fmla="*/ 1109961 h 1125638"/>
              <a:gd name="connsiteX89" fmla="*/ 194083 w 3429317"/>
              <a:gd name="connsiteY89" fmla="*/ 346471 h 1125638"/>
              <a:gd name="connsiteX90" fmla="*/ 71998 w 3429317"/>
              <a:gd name="connsiteY90" fmla="*/ 362148 h 1125638"/>
              <a:gd name="connsiteX91" fmla="*/ 71998 w 3429317"/>
              <a:gd name="connsiteY91" fmla="*/ 1109961 h 1125638"/>
              <a:gd name="connsiteX92" fmla="*/ 1069021 w 3429317"/>
              <a:gd name="connsiteY92" fmla="*/ 301006 h 1125638"/>
              <a:gd name="connsiteX93" fmla="*/ 1126932 w 3429317"/>
              <a:gd name="connsiteY93" fmla="*/ 319819 h 1125638"/>
              <a:gd name="connsiteX94" fmla="*/ 1161366 w 3429317"/>
              <a:gd name="connsiteY94" fmla="*/ 224187 h 1125638"/>
              <a:gd name="connsiteX95" fmla="*/ 1047108 w 3429317"/>
              <a:gd name="connsiteY95" fmla="*/ 189697 h 1125638"/>
              <a:gd name="connsiteX96" fmla="*/ 953197 w 3429317"/>
              <a:gd name="connsiteY96" fmla="*/ 221052 h 1125638"/>
              <a:gd name="connsiteX97" fmla="*/ 892155 w 3429317"/>
              <a:gd name="connsiteY97" fmla="*/ 390368 h 1125638"/>
              <a:gd name="connsiteX98" fmla="*/ 893720 w 3429317"/>
              <a:gd name="connsiteY98" fmla="*/ 473458 h 1125638"/>
              <a:gd name="connsiteX99" fmla="*/ 851460 w 3429317"/>
              <a:gd name="connsiteY99" fmla="*/ 473458 h 1125638"/>
              <a:gd name="connsiteX100" fmla="*/ 851460 w 3429317"/>
              <a:gd name="connsiteY100" fmla="*/ 581632 h 1125638"/>
              <a:gd name="connsiteX101" fmla="*/ 893720 w 3429317"/>
              <a:gd name="connsiteY101" fmla="*/ 581632 h 1125638"/>
              <a:gd name="connsiteX102" fmla="*/ 893720 w 3429317"/>
              <a:gd name="connsiteY102" fmla="*/ 1108394 h 1125638"/>
              <a:gd name="connsiteX103" fmla="*/ 1018935 w 3429317"/>
              <a:gd name="connsiteY103" fmla="*/ 1108394 h 1125638"/>
              <a:gd name="connsiteX104" fmla="*/ 1018935 w 3429317"/>
              <a:gd name="connsiteY104" fmla="*/ 583200 h 1125638"/>
              <a:gd name="connsiteX105" fmla="*/ 1111281 w 3429317"/>
              <a:gd name="connsiteY105" fmla="*/ 583200 h 1125638"/>
              <a:gd name="connsiteX106" fmla="*/ 1134758 w 3429317"/>
              <a:gd name="connsiteY106" fmla="*/ 475026 h 1125638"/>
              <a:gd name="connsiteX107" fmla="*/ 1020500 w 3429317"/>
              <a:gd name="connsiteY107" fmla="*/ 475026 h 1125638"/>
              <a:gd name="connsiteX108" fmla="*/ 1020500 w 3429317"/>
              <a:gd name="connsiteY108" fmla="*/ 377826 h 1125638"/>
              <a:gd name="connsiteX109" fmla="*/ 1069021 w 3429317"/>
              <a:gd name="connsiteY109" fmla="*/ 301006 h 1125638"/>
              <a:gd name="connsiteX110" fmla="*/ 1228669 w 3429317"/>
              <a:gd name="connsiteY110" fmla="*/ 1109961 h 1125638"/>
              <a:gd name="connsiteX111" fmla="*/ 1352319 w 3429317"/>
              <a:gd name="connsiteY111" fmla="*/ 1109961 h 1125638"/>
              <a:gd name="connsiteX112" fmla="*/ 1352319 w 3429317"/>
              <a:gd name="connsiteY112" fmla="*/ 464052 h 1125638"/>
              <a:gd name="connsiteX113" fmla="*/ 1228669 w 3429317"/>
              <a:gd name="connsiteY113" fmla="*/ 479729 h 1125638"/>
              <a:gd name="connsiteX114" fmla="*/ 1228669 w 3429317"/>
              <a:gd name="connsiteY114" fmla="*/ 1109961 h 112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429317" h="1125638">
                <a:moveTo>
                  <a:pt x="2720290" y="1125639"/>
                </a:moveTo>
                <a:cubicBezTo>
                  <a:pt x="2886199" y="1125639"/>
                  <a:pt x="2937850" y="950052"/>
                  <a:pt x="2937850" y="788574"/>
                </a:cubicBezTo>
                <a:cubicBezTo>
                  <a:pt x="2937850" y="572226"/>
                  <a:pt x="2847069" y="459348"/>
                  <a:pt x="2720290" y="459348"/>
                </a:cubicBezTo>
                <a:cubicBezTo>
                  <a:pt x="2560641" y="459348"/>
                  <a:pt x="2504294" y="634936"/>
                  <a:pt x="2505859" y="791710"/>
                </a:cubicBezTo>
                <a:cubicBezTo>
                  <a:pt x="2507425" y="946916"/>
                  <a:pt x="2551250" y="1125639"/>
                  <a:pt x="2720290" y="1125639"/>
                </a:cubicBezTo>
                <a:close/>
                <a:moveTo>
                  <a:pt x="2638900" y="787007"/>
                </a:moveTo>
                <a:cubicBezTo>
                  <a:pt x="2638900" y="722729"/>
                  <a:pt x="2638900" y="572226"/>
                  <a:pt x="2720290" y="572226"/>
                </a:cubicBezTo>
                <a:cubicBezTo>
                  <a:pt x="2807940" y="572226"/>
                  <a:pt x="2804810" y="721161"/>
                  <a:pt x="2804810" y="790142"/>
                </a:cubicBezTo>
                <a:cubicBezTo>
                  <a:pt x="2804810" y="855987"/>
                  <a:pt x="2804810" y="1015897"/>
                  <a:pt x="2723420" y="1015897"/>
                </a:cubicBezTo>
                <a:cubicBezTo>
                  <a:pt x="2635770" y="1014329"/>
                  <a:pt x="2638900" y="854419"/>
                  <a:pt x="2638900" y="787007"/>
                </a:cubicBezTo>
                <a:close/>
                <a:moveTo>
                  <a:pt x="2238213" y="1125639"/>
                </a:moveTo>
                <a:cubicBezTo>
                  <a:pt x="2305516" y="1125639"/>
                  <a:pt x="2363428" y="1098987"/>
                  <a:pt x="2418209" y="1040981"/>
                </a:cubicBezTo>
                <a:lnTo>
                  <a:pt x="2369688" y="950052"/>
                </a:lnTo>
                <a:cubicBezTo>
                  <a:pt x="2332124" y="990813"/>
                  <a:pt x="2294560" y="1012761"/>
                  <a:pt x="2249169" y="1012761"/>
                </a:cubicBezTo>
                <a:cubicBezTo>
                  <a:pt x="2211605" y="1012761"/>
                  <a:pt x="2180301" y="990813"/>
                  <a:pt x="2161519" y="953187"/>
                </a:cubicBezTo>
                <a:cubicBezTo>
                  <a:pt x="2145867" y="920265"/>
                  <a:pt x="2142737" y="882639"/>
                  <a:pt x="2142737" y="841877"/>
                </a:cubicBezTo>
                <a:lnTo>
                  <a:pt x="2142737" y="829335"/>
                </a:lnTo>
                <a:lnTo>
                  <a:pt x="2424470" y="829335"/>
                </a:lnTo>
                <a:lnTo>
                  <a:pt x="2424470" y="801116"/>
                </a:lnTo>
                <a:cubicBezTo>
                  <a:pt x="2424470" y="661587"/>
                  <a:pt x="2407253" y="584768"/>
                  <a:pt x="2363428" y="526761"/>
                </a:cubicBezTo>
                <a:cubicBezTo>
                  <a:pt x="2330559" y="482865"/>
                  <a:pt x="2282038" y="459348"/>
                  <a:pt x="2222561" y="459348"/>
                </a:cubicBezTo>
                <a:cubicBezTo>
                  <a:pt x="2159954" y="459348"/>
                  <a:pt x="2108303" y="487568"/>
                  <a:pt x="2070738" y="542439"/>
                </a:cubicBezTo>
                <a:cubicBezTo>
                  <a:pt x="2030044" y="602013"/>
                  <a:pt x="2012826" y="681968"/>
                  <a:pt x="2012826" y="791710"/>
                </a:cubicBezTo>
                <a:cubicBezTo>
                  <a:pt x="2011261" y="1001787"/>
                  <a:pt x="2094216" y="1125639"/>
                  <a:pt x="2238213" y="1125639"/>
                </a:cubicBezTo>
                <a:close/>
                <a:moveTo>
                  <a:pt x="2224126" y="562819"/>
                </a:moveTo>
                <a:cubicBezTo>
                  <a:pt x="2255430" y="562819"/>
                  <a:pt x="2274212" y="580065"/>
                  <a:pt x="2286734" y="608284"/>
                </a:cubicBezTo>
                <a:cubicBezTo>
                  <a:pt x="2296125" y="633368"/>
                  <a:pt x="2300820" y="675697"/>
                  <a:pt x="2300820" y="725865"/>
                </a:cubicBezTo>
                <a:lnTo>
                  <a:pt x="2142737" y="725865"/>
                </a:lnTo>
                <a:cubicBezTo>
                  <a:pt x="2144302" y="614555"/>
                  <a:pt x="2167780" y="562819"/>
                  <a:pt x="2224126" y="562819"/>
                </a:cubicBezTo>
                <a:close/>
                <a:moveTo>
                  <a:pt x="3041152" y="1109961"/>
                </a:moveTo>
                <a:lnTo>
                  <a:pt x="3163237" y="1109961"/>
                </a:lnTo>
                <a:lnTo>
                  <a:pt x="3163237" y="639639"/>
                </a:lnTo>
                <a:cubicBezTo>
                  <a:pt x="3192975" y="603581"/>
                  <a:pt x="3227409" y="583200"/>
                  <a:pt x="3252452" y="583200"/>
                </a:cubicBezTo>
                <a:cubicBezTo>
                  <a:pt x="3268104" y="583200"/>
                  <a:pt x="3283756" y="586335"/>
                  <a:pt x="3293147" y="598877"/>
                </a:cubicBezTo>
                <a:cubicBezTo>
                  <a:pt x="3302538" y="612987"/>
                  <a:pt x="3307233" y="633368"/>
                  <a:pt x="3307233" y="681968"/>
                </a:cubicBezTo>
                <a:lnTo>
                  <a:pt x="3307233" y="1109961"/>
                </a:lnTo>
                <a:lnTo>
                  <a:pt x="3429318" y="1109961"/>
                </a:lnTo>
                <a:lnTo>
                  <a:pt x="3429318" y="625529"/>
                </a:lnTo>
                <a:cubicBezTo>
                  <a:pt x="3429318" y="583200"/>
                  <a:pt x="3424622" y="540871"/>
                  <a:pt x="3399579" y="509516"/>
                </a:cubicBezTo>
                <a:cubicBezTo>
                  <a:pt x="3377667" y="481297"/>
                  <a:pt x="3343233" y="464052"/>
                  <a:pt x="3299408" y="464052"/>
                </a:cubicBezTo>
                <a:cubicBezTo>
                  <a:pt x="3243061" y="464052"/>
                  <a:pt x="3185149" y="496974"/>
                  <a:pt x="3153845" y="534600"/>
                </a:cubicBezTo>
                <a:cubicBezTo>
                  <a:pt x="3152280" y="501677"/>
                  <a:pt x="3141324" y="470323"/>
                  <a:pt x="3138194" y="459348"/>
                </a:cubicBezTo>
                <a:lnTo>
                  <a:pt x="3023935" y="489136"/>
                </a:lnTo>
                <a:cubicBezTo>
                  <a:pt x="3030196" y="523626"/>
                  <a:pt x="3039587" y="565955"/>
                  <a:pt x="3039587" y="642774"/>
                </a:cubicBezTo>
                <a:lnTo>
                  <a:pt x="3039587" y="1109961"/>
                </a:lnTo>
                <a:close/>
                <a:moveTo>
                  <a:pt x="1623096" y="534600"/>
                </a:moveTo>
                <a:cubicBezTo>
                  <a:pt x="1621530" y="501677"/>
                  <a:pt x="1610574" y="470323"/>
                  <a:pt x="1607444" y="459348"/>
                </a:cubicBezTo>
                <a:lnTo>
                  <a:pt x="1493185" y="489136"/>
                </a:lnTo>
                <a:cubicBezTo>
                  <a:pt x="1499446" y="523626"/>
                  <a:pt x="1508837" y="565955"/>
                  <a:pt x="1508837" y="642774"/>
                </a:cubicBezTo>
                <a:lnTo>
                  <a:pt x="1508837" y="1108394"/>
                </a:lnTo>
                <a:lnTo>
                  <a:pt x="1630922" y="1108394"/>
                </a:lnTo>
                <a:lnTo>
                  <a:pt x="1630922" y="638071"/>
                </a:lnTo>
                <a:cubicBezTo>
                  <a:pt x="1660660" y="602013"/>
                  <a:pt x="1695094" y="581632"/>
                  <a:pt x="1720137" y="581632"/>
                </a:cubicBezTo>
                <a:cubicBezTo>
                  <a:pt x="1735789" y="581632"/>
                  <a:pt x="1751441" y="584768"/>
                  <a:pt x="1760832" y="597310"/>
                </a:cubicBezTo>
                <a:cubicBezTo>
                  <a:pt x="1770223" y="611419"/>
                  <a:pt x="1774919" y="631800"/>
                  <a:pt x="1774919" y="680400"/>
                </a:cubicBezTo>
                <a:lnTo>
                  <a:pt x="1774919" y="1108394"/>
                </a:lnTo>
                <a:lnTo>
                  <a:pt x="1897003" y="1108394"/>
                </a:lnTo>
                <a:lnTo>
                  <a:pt x="1897003" y="625529"/>
                </a:lnTo>
                <a:cubicBezTo>
                  <a:pt x="1897003" y="583200"/>
                  <a:pt x="1892307" y="540871"/>
                  <a:pt x="1867264" y="509516"/>
                </a:cubicBezTo>
                <a:cubicBezTo>
                  <a:pt x="1845352" y="481297"/>
                  <a:pt x="1810918" y="464052"/>
                  <a:pt x="1767093" y="464052"/>
                </a:cubicBezTo>
                <a:cubicBezTo>
                  <a:pt x="1712311" y="464052"/>
                  <a:pt x="1654399" y="496974"/>
                  <a:pt x="1623096" y="534600"/>
                </a:cubicBezTo>
                <a:close/>
                <a:moveTo>
                  <a:pt x="129910" y="260245"/>
                </a:moveTo>
                <a:cubicBezTo>
                  <a:pt x="201909" y="260245"/>
                  <a:pt x="259820" y="202239"/>
                  <a:pt x="259820" y="130123"/>
                </a:cubicBezTo>
                <a:cubicBezTo>
                  <a:pt x="259820" y="58006"/>
                  <a:pt x="201909" y="0"/>
                  <a:pt x="129910" y="0"/>
                </a:cubicBezTo>
                <a:cubicBezTo>
                  <a:pt x="57912" y="0"/>
                  <a:pt x="0" y="58006"/>
                  <a:pt x="0" y="130123"/>
                </a:cubicBezTo>
                <a:cubicBezTo>
                  <a:pt x="0" y="202239"/>
                  <a:pt x="57912" y="260245"/>
                  <a:pt x="129910" y="260245"/>
                </a:cubicBezTo>
                <a:close/>
                <a:moveTo>
                  <a:pt x="729376" y="1109961"/>
                </a:moveTo>
                <a:lnTo>
                  <a:pt x="729376" y="625529"/>
                </a:lnTo>
                <a:cubicBezTo>
                  <a:pt x="729376" y="583200"/>
                  <a:pt x="724680" y="540871"/>
                  <a:pt x="699637" y="509516"/>
                </a:cubicBezTo>
                <a:cubicBezTo>
                  <a:pt x="677725" y="481297"/>
                  <a:pt x="643291" y="464052"/>
                  <a:pt x="599465" y="464052"/>
                </a:cubicBezTo>
                <a:cubicBezTo>
                  <a:pt x="543119" y="464052"/>
                  <a:pt x="485207" y="496974"/>
                  <a:pt x="453903" y="534600"/>
                </a:cubicBezTo>
                <a:cubicBezTo>
                  <a:pt x="452338" y="501677"/>
                  <a:pt x="441382" y="470323"/>
                  <a:pt x="438251" y="459348"/>
                </a:cubicBezTo>
                <a:lnTo>
                  <a:pt x="325558" y="490703"/>
                </a:lnTo>
                <a:cubicBezTo>
                  <a:pt x="331819" y="525194"/>
                  <a:pt x="341210" y="567523"/>
                  <a:pt x="341210" y="644342"/>
                </a:cubicBezTo>
                <a:lnTo>
                  <a:pt x="341210" y="1109961"/>
                </a:lnTo>
                <a:lnTo>
                  <a:pt x="463294" y="1109961"/>
                </a:lnTo>
                <a:lnTo>
                  <a:pt x="463294" y="639639"/>
                </a:lnTo>
                <a:cubicBezTo>
                  <a:pt x="493033" y="603581"/>
                  <a:pt x="527467" y="583200"/>
                  <a:pt x="552510" y="583200"/>
                </a:cubicBezTo>
                <a:cubicBezTo>
                  <a:pt x="568162" y="583200"/>
                  <a:pt x="583814" y="586335"/>
                  <a:pt x="593205" y="598877"/>
                </a:cubicBezTo>
                <a:cubicBezTo>
                  <a:pt x="602596" y="612987"/>
                  <a:pt x="607291" y="633368"/>
                  <a:pt x="607291" y="681968"/>
                </a:cubicBezTo>
                <a:lnTo>
                  <a:pt x="607291" y="1109961"/>
                </a:lnTo>
                <a:lnTo>
                  <a:pt x="729376" y="1109961"/>
                </a:lnTo>
                <a:close/>
                <a:moveTo>
                  <a:pt x="1291277" y="225755"/>
                </a:moveTo>
                <a:cubicBezTo>
                  <a:pt x="1245886" y="225755"/>
                  <a:pt x="1209887" y="261813"/>
                  <a:pt x="1209887" y="307277"/>
                </a:cubicBezTo>
                <a:cubicBezTo>
                  <a:pt x="1209887" y="352742"/>
                  <a:pt x="1245886" y="388800"/>
                  <a:pt x="1289712" y="388800"/>
                </a:cubicBezTo>
                <a:cubicBezTo>
                  <a:pt x="1335102" y="388800"/>
                  <a:pt x="1371101" y="352742"/>
                  <a:pt x="1371101" y="307277"/>
                </a:cubicBezTo>
                <a:cubicBezTo>
                  <a:pt x="1371101" y="261813"/>
                  <a:pt x="1335102" y="225755"/>
                  <a:pt x="1291277" y="225755"/>
                </a:cubicBezTo>
                <a:close/>
                <a:moveTo>
                  <a:pt x="71998" y="1109961"/>
                </a:moveTo>
                <a:lnTo>
                  <a:pt x="194083" y="1109961"/>
                </a:lnTo>
                <a:lnTo>
                  <a:pt x="194083" y="346471"/>
                </a:lnTo>
                <a:lnTo>
                  <a:pt x="71998" y="362148"/>
                </a:lnTo>
                <a:lnTo>
                  <a:pt x="71998" y="1109961"/>
                </a:lnTo>
                <a:close/>
                <a:moveTo>
                  <a:pt x="1069021" y="301006"/>
                </a:moveTo>
                <a:cubicBezTo>
                  <a:pt x="1090933" y="301006"/>
                  <a:pt x="1112846" y="308845"/>
                  <a:pt x="1126932" y="319819"/>
                </a:cubicBezTo>
                <a:lnTo>
                  <a:pt x="1161366" y="224187"/>
                </a:lnTo>
                <a:cubicBezTo>
                  <a:pt x="1128498" y="200671"/>
                  <a:pt x="1092498" y="189697"/>
                  <a:pt x="1047108" y="189697"/>
                </a:cubicBezTo>
                <a:cubicBezTo>
                  <a:pt x="1015804" y="189697"/>
                  <a:pt x="982935" y="197535"/>
                  <a:pt x="953197" y="221052"/>
                </a:cubicBezTo>
                <a:cubicBezTo>
                  <a:pt x="923458" y="246135"/>
                  <a:pt x="892155" y="296303"/>
                  <a:pt x="892155" y="390368"/>
                </a:cubicBezTo>
                <a:cubicBezTo>
                  <a:pt x="892155" y="431129"/>
                  <a:pt x="893720" y="473458"/>
                  <a:pt x="893720" y="473458"/>
                </a:cubicBezTo>
                <a:lnTo>
                  <a:pt x="851460" y="473458"/>
                </a:lnTo>
                <a:lnTo>
                  <a:pt x="851460" y="581632"/>
                </a:lnTo>
                <a:lnTo>
                  <a:pt x="893720" y="581632"/>
                </a:lnTo>
                <a:lnTo>
                  <a:pt x="893720" y="1108394"/>
                </a:lnTo>
                <a:lnTo>
                  <a:pt x="1018935" y="1108394"/>
                </a:lnTo>
                <a:lnTo>
                  <a:pt x="1018935" y="583200"/>
                </a:lnTo>
                <a:lnTo>
                  <a:pt x="1111281" y="583200"/>
                </a:lnTo>
                <a:lnTo>
                  <a:pt x="1134758" y="475026"/>
                </a:lnTo>
                <a:lnTo>
                  <a:pt x="1020500" y="475026"/>
                </a:lnTo>
                <a:lnTo>
                  <a:pt x="1020500" y="377826"/>
                </a:lnTo>
                <a:cubicBezTo>
                  <a:pt x="1020500" y="330794"/>
                  <a:pt x="1039282" y="301006"/>
                  <a:pt x="1069021" y="301006"/>
                </a:cubicBezTo>
                <a:close/>
                <a:moveTo>
                  <a:pt x="1228669" y="1109961"/>
                </a:moveTo>
                <a:lnTo>
                  <a:pt x="1352319" y="1109961"/>
                </a:lnTo>
                <a:lnTo>
                  <a:pt x="1352319" y="464052"/>
                </a:lnTo>
                <a:lnTo>
                  <a:pt x="1228669" y="479729"/>
                </a:lnTo>
                <a:lnTo>
                  <a:pt x="1228669" y="1109961"/>
                </a:lnTo>
                <a:close/>
              </a:path>
            </a:pathLst>
          </a:custGeom>
          <a:solidFill>
            <a:srgbClr val="005DA9"/>
          </a:solidFill>
          <a:ln w="15629" cap="flat">
            <a:noFill/>
            <a:prstDash val="solid"/>
            <a:miter/>
          </a:ln>
        </p:spPr>
        <p:txBody>
          <a:bodyPr rtlCol="0" anchor="ctr"/>
          <a:lstStyle/>
          <a:p>
            <a:endParaRPr lang="en-US" baseline="0" noProof="0">
              <a:latin typeface="+mn-lt"/>
              <a:ea typeface="+mn-ea"/>
              <a:cs typeface="+mn-cs"/>
            </a:endParaRPr>
          </a:p>
        </p:txBody>
      </p:sp>
      <p:sp>
        <p:nvSpPr>
          <p:cNvPr id="11" name="Freeform: Shape 10">
            <a:extLst>
              <a:ext uri="{FF2B5EF4-FFF2-40B4-BE49-F238E27FC236}">
                <a16:creationId xmlns:a16="http://schemas.microsoft.com/office/drawing/2014/main" id="{2F60EEAB-08EF-4699-AAD1-3E74796DF911}"/>
              </a:ext>
            </a:extLst>
          </p:cNvPr>
          <p:cNvSpPr/>
          <p:nvPr/>
        </p:nvSpPr>
        <p:spPr>
          <a:xfrm>
            <a:off x="3859415" y="1750829"/>
            <a:ext cx="4435730" cy="1944213"/>
          </a:xfrm>
          <a:custGeom>
            <a:avLst/>
            <a:gdLst>
              <a:gd name="connsiteX0" fmla="*/ 3764267 w 4435730"/>
              <a:gd name="connsiteY0" fmla="*/ 1637936 h 1944213"/>
              <a:gd name="connsiteX1" fmla="*/ 2357167 w 4435730"/>
              <a:gd name="connsiteY1" fmla="*/ 1813523 h 1944213"/>
              <a:gd name="connsiteX2" fmla="*/ 248864 w 4435730"/>
              <a:gd name="connsiteY2" fmla="*/ 962240 h 1944213"/>
              <a:gd name="connsiteX3" fmla="*/ 608857 w 4435730"/>
              <a:gd name="connsiteY3" fmla="*/ 452723 h 1944213"/>
              <a:gd name="connsiteX4" fmla="*/ 538423 w 4435730"/>
              <a:gd name="connsiteY4" fmla="*/ 314762 h 1944213"/>
              <a:gd name="connsiteX5" fmla="*/ 0 w 4435730"/>
              <a:gd name="connsiteY5" fmla="*/ 976349 h 1944213"/>
              <a:gd name="connsiteX6" fmla="*/ 2369688 w 4435730"/>
              <a:gd name="connsiteY6" fmla="*/ 1943646 h 1944213"/>
              <a:gd name="connsiteX7" fmla="*/ 3646878 w 4435730"/>
              <a:gd name="connsiteY7" fmla="*/ 1744543 h 1944213"/>
              <a:gd name="connsiteX8" fmla="*/ 4435731 w 4435730"/>
              <a:gd name="connsiteY8" fmla="*/ 1302440 h 1944213"/>
              <a:gd name="connsiteX9" fmla="*/ 3764267 w 4435730"/>
              <a:gd name="connsiteY9" fmla="*/ 1637936 h 1944213"/>
              <a:gd name="connsiteX10" fmla="*/ 1136323 w 4435730"/>
              <a:gd name="connsiteY10" fmla="*/ 214427 h 1944213"/>
              <a:gd name="connsiteX11" fmla="*/ 1336667 w 4435730"/>
              <a:gd name="connsiteY11" fmla="*/ 150149 h 1944213"/>
              <a:gd name="connsiteX12" fmla="*/ 2371254 w 4435730"/>
              <a:gd name="connsiteY12" fmla="*/ 9052 h 1944213"/>
              <a:gd name="connsiteX13" fmla="*/ 1311624 w 4435730"/>
              <a:gd name="connsiteY13" fmla="*/ 65491 h 1944213"/>
              <a:gd name="connsiteX14" fmla="*/ 1097194 w 4435730"/>
              <a:gd name="connsiteY14" fmla="*/ 110956 h 1944213"/>
              <a:gd name="connsiteX15" fmla="*/ 1011109 w 4435730"/>
              <a:gd name="connsiteY15" fmla="*/ 134472 h 1944213"/>
              <a:gd name="connsiteX16" fmla="*/ 932850 w 4435730"/>
              <a:gd name="connsiteY16" fmla="*/ 156420 h 1944213"/>
              <a:gd name="connsiteX17" fmla="*/ 838939 w 4435730"/>
              <a:gd name="connsiteY17" fmla="*/ 187775 h 1944213"/>
              <a:gd name="connsiteX18" fmla="*/ 890590 w 4435730"/>
              <a:gd name="connsiteY18" fmla="*/ 306923 h 1944213"/>
              <a:gd name="connsiteX19" fmla="*/ 1136323 w 4435730"/>
              <a:gd name="connsiteY19" fmla="*/ 214427 h 194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35730" h="1944213">
                <a:moveTo>
                  <a:pt x="3764267" y="1637936"/>
                </a:moveTo>
                <a:cubicBezTo>
                  <a:pt x="3351059" y="1760220"/>
                  <a:pt x="2848635" y="1813523"/>
                  <a:pt x="2357167" y="1813523"/>
                </a:cubicBezTo>
                <a:cubicBezTo>
                  <a:pt x="1109715" y="1813523"/>
                  <a:pt x="305211" y="1446672"/>
                  <a:pt x="248864" y="962240"/>
                </a:cubicBezTo>
                <a:cubicBezTo>
                  <a:pt x="228517" y="780381"/>
                  <a:pt x="370949" y="603227"/>
                  <a:pt x="608857" y="452723"/>
                </a:cubicBezTo>
                <a:cubicBezTo>
                  <a:pt x="566597" y="421369"/>
                  <a:pt x="539988" y="371201"/>
                  <a:pt x="538423" y="314762"/>
                </a:cubicBezTo>
                <a:cubicBezTo>
                  <a:pt x="194083" y="496620"/>
                  <a:pt x="0" y="734917"/>
                  <a:pt x="0" y="976349"/>
                </a:cubicBezTo>
                <a:cubicBezTo>
                  <a:pt x="0" y="1510949"/>
                  <a:pt x="953197" y="1962459"/>
                  <a:pt x="2369688" y="1943646"/>
                </a:cubicBezTo>
                <a:cubicBezTo>
                  <a:pt x="2862721" y="1937375"/>
                  <a:pt x="3274365" y="1866827"/>
                  <a:pt x="3646878" y="1744543"/>
                </a:cubicBezTo>
                <a:cubicBezTo>
                  <a:pt x="4089825" y="1600311"/>
                  <a:pt x="4368428" y="1393369"/>
                  <a:pt x="4435731" y="1302440"/>
                </a:cubicBezTo>
                <a:cubicBezTo>
                  <a:pt x="4355907" y="1374556"/>
                  <a:pt x="4166520" y="1518788"/>
                  <a:pt x="3764267" y="1637936"/>
                </a:cubicBezTo>
                <a:close/>
                <a:moveTo>
                  <a:pt x="1136323" y="214427"/>
                </a:moveTo>
                <a:cubicBezTo>
                  <a:pt x="1219278" y="186207"/>
                  <a:pt x="1336667" y="150149"/>
                  <a:pt x="1336667" y="150149"/>
                </a:cubicBezTo>
                <a:cubicBezTo>
                  <a:pt x="1666921" y="59220"/>
                  <a:pt x="2031609" y="5917"/>
                  <a:pt x="2371254" y="9052"/>
                </a:cubicBezTo>
                <a:cubicBezTo>
                  <a:pt x="1979958" y="-14464"/>
                  <a:pt x="1623096" y="9052"/>
                  <a:pt x="1311624" y="65491"/>
                </a:cubicBezTo>
                <a:cubicBezTo>
                  <a:pt x="1311624" y="65491"/>
                  <a:pt x="1208322" y="82736"/>
                  <a:pt x="1097194" y="110956"/>
                </a:cubicBezTo>
                <a:cubicBezTo>
                  <a:pt x="1097194" y="110956"/>
                  <a:pt x="1043978" y="125065"/>
                  <a:pt x="1011109" y="134472"/>
                </a:cubicBezTo>
                <a:cubicBezTo>
                  <a:pt x="978240" y="143878"/>
                  <a:pt x="932850" y="156420"/>
                  <a:pt x="932850" y="156420"/>
                </a:cubicBezTo>
                <a:cubicBezTo>
                  <a:pt x="901546" y="165827"/>
                  <a:pt x="870242" y="176801"/>
                  <a:pt x="838939" y="187775"/>
                </a:cubicBezTo>
                <a:cubicBezTo>
                  <a:pt x="870242" y="219130"/>
                  <a:pt x="889024" y="259891"/>
                  <a:pt x="890590" y="306923"/>
                </a:cubicBezTo>
                <a:cubicBezTo>
                  <a:pt x="945371" y="281840"/>
                  <a:pt x="1050238" y="244214"/>
                  <a:pt x="1136323" y="214427"/>
                </a:cubicBezTo>
                <a:close/>
              </a:path>
            </a:pathLst>
          </a:custGeom>
          <a:solidFill>
            <a:srgbClr val="E30034"/>
          </a:solidFill>
          <a:ln w="15629" cap="flat">
            <a:noFill/>
            <a:prstDash val="solid"/>
            <a:miter/>
          </a:ln>
        </p:spPr>
        <p:txBody>
          <a:bodyPr rtlCol="0" anchor="ctr"/>
          <a:lstStyle/>
          <a:p>
            <a:endParaRPr lang="en-US"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37179868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AndClipArt" preserve="1">
  <p:cSld name="IFX_PresentationTitle_1">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Fußzeilenplatzhalter 2">
            <a:extLst>
              <a:ext uri="{FF2B5EF4-FFF2-40B4-BE49-F238E27FC236}">
                <a16:creationId xmlns:a16="http://schemas.microsoft.com/office/drawing/2014/main" id="{E7F0A34C-DF45-4BDC-A928-494C3A71CC3A}"/>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4" name="Foliennummernplatzhalter 3">
            <a:extLst>
              <a:ext uri="{FF2B5EF4-FFF2-40B4-BE49-F238E27FC236}">
                <a16:creationId xmlns:a16="http://schemas.microsoft.com/office/drawing/2014/main" id="{55CBBED2-4C24-4ACF-8E3F-B10AE4AED4F3}"/>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21" name="Picture Placeholder 20">
            <a:extLst>
              <a:ext uri="{FF2B5EF4-FFF2-40B4-BE49-F238E27FC236}">
                <a16:creationId xmlns:a16="http://schemas.microsoft.com/office/drawing/2014/main" id="{0015D233-C9CC-4F11-A8E7-A76873C0D175}"/>
              </a:ext>
            </a:extLst>
          </p:cNvPr>
          <p:cNvSpPr>
            <a:spLocks noGrp="1"/>
          </p:cNvSpPr>
          <p:nvPr>
            <p:ph type="pic" sz="quarter" idx="31"/>
          </p:nvPr>
        </p:nvSpPr>
        <p:spPr>
          <a:xfrm>
            <a:off x="0" y="71"/>
            <a:ext cx="12193200" cy="5138663"/>
          </a:xfrm>
          <a:custGeom>
            <a:avLst/>
            <a:gdLst>
              <a:gd name="connsiteX0" fmla="*/ 0 w 12193200"/>
              <a:gd name="connsiteY0" fmla="*/ 3366965 h 5138663"/>
              <a:gd name="connsiteX1" fmla="*/ 2568673 w 12193200"/>
              <a:gd name="connsiteY1" fmla="*/ 4457302 h 5138663"/>
              <a:gd name="connsiteX2" fmla="*/ 2562846 w 12193200"/>
              <a:gd name="connsiteY2" fmla="*/ 4486161 h 5138663"/>
              <a:gd name="connsiteX3" fmla="*/ 2638446 w 12193200"/>
              <a:gd name="connsiteY3" fmla="*/ 4561761 h 5138663"/>
              <a:gd name="connsiteX4" fmla="*/ 2647610 w 12193200"/>
              <a:gd name="connsiteY4" fmla="*/ 4559911 h 5138663"/>
              <a:gd name="connsiteX5" fmla="*/ 2719581 w 12193200"/>
              <a:gd name="connsiteY5" fmla="*/ 5014319 h 5138663"/>
              <a:gd name="connsiteX6" fmla="*/ 0 w 12193200"/>
              <a:gd name="connsiteY6" fmla="*/ 5138663 h 5138663"/>
              <a:gd name="connsiteX7" fmla="*/ 9696955 w 12193200"/>
              <a:gd name="connsiteY7" fmla="*/ 2861324 h 5138663"/>
              <a:gd name="connsiteX8" fmla="*/ 8393835 w 12193200"/>
              <a:gd name="connsiteY8" fmla="*/ 4754883 h 5138663"/>
              <a:gd name="connsiteX9" fmla="*/ 2732347 w 12193200"/>
              <a:gd name="connsiteY9" fmla="*/ 5013736 h 5138663"/>
              <a:gd name="connsiteX10" fmla="*/ 2660069 w 12193200"/>
              <a:gd name="connsiteY10" fmla="*/ 4557396 h 5138663"/>
              <a:gd name="connsiteX11" fmla="*/ 2667873 w 12193200"/>
              <a:gd name="connsiteY11" fmla="*/ 4555820 h 5138663"/>
              <a:gd name="connsiteX12" fmla="*/ 2714046 w 12193200"/>
              <a:gd name="connsiteY12" fmla="*/ 4486161 h 5138663"/>
              <a:gd name="connsiteX13" fmla="*/ 2711595 w 12193200"/>
              <a:gd name="connsiteY13" fmla="*/ 4474021 h 5138663"/>
              <a:gd name="connsiteX14" fmla="*/ 12193200 w 12193200"/>
              <a:gd name="connsiteY14" fmla="*/ 2285021 h 5138663"/>
              <a:gd name="connsiteX15" fmla="*/ 12193200 w 12193200"/>
              <a:gd name="connsiteY15" fmla="*/ 4581170 h 5138663"/>
              <a:gd name="connsiteX16" fmla="*/ 8409753 w 12193200"/>
              <a:gd name="connsiteY16" fmla="*/ 4754155 h 5138663"/>
              <a:gd name="connsiteX17" fmla="*/ 9715284 w 12193200"/>
              <a:gd name="connsiteY17" fmla="*/ 2857093 h 5138663"/>
              <a:gd name="connsiteX18" fmla="*/ 11681495 w 12193200"/>
              <a:gd name="connsiteY18" fmla="*/ 0 h 5138663"/>
              <a:gd name="connsiteX19" fmla="*/ 12193200 w 12193200"/>
              <a:gd name="connsiteY19" fmla="*/ 0 h 5138663"/>
              <a:gd name="connsiteX20" fmla="*/ 12193200 w 12193200"/>
              <a:gd name="connsiteY20" fmla="*/ 2271987 h 5138663"/>
              <a:gd name="connsiteX21" fmla="*/ 9725948 w 12193200"/>
              <a:gd name="connsiteY21" fmla="*/ 2841597 h 5138663"/>
              <a:gd name="connsiteX22" fmla="*/ 0 w 12193200"/>
              <a:gd name="connsiteY22" fmla="*/ 0 h 5138663"/>
              <a:gd name="connsiteX23" fmla="*/ 11666079 w 12193200"/>
              <a:gd name="connsiteY23" fmla="*/ 0 h 5138663"/>
              <a:gd name="connsiteX24" fmla="*/ 9707619 w 12193200"/>
              <a:gd name="connsiteY24" fmla="*/ 2845829 h 5138663"/>
              <a:gd name="connsiteX25" fmla="*/ 2709081 w 12193200"/>
              <a:gd name="connsiteY25" fmla="*/ 4461568 h 5138663"/>
              <a:gd name="connsiteX26" fmla="*/ 2708105 w 12193200"/>
              <a:gd name="connsiteY26" fmla="*/ 4456734 h 5138663"/>
              <a:gd name="connsiteX27" fmla="*/ 2638446 w 12193200"/>
              <a:gd name="connsiteY27" fmla="*/ 4410561 h 5138663"/>
              <a:gd name="connsiteX28" fmla="*/ 2584989 w 12193200"/>
              <a:gd name="connsiteY28" fmla="*/ 4432704 h 5138663"/>
              <a:gd name="connsiteX29" fmla="*/ 2575696 w 12193200"/>
              <a:gd name="connsiteY29" fmla="*/ 4446487 h 5138663"/>
              <a:gd name="connsiteX30" fmla="*/ 0 w 12193200"/>
              <a:gd name="connsiteY30" fmla="*/ 3353169 h 513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3200" h="5138663">
                <a:moveTo>
                  <a:pt x="0" y="3366965"/>
                </a:moveTo>
                <a:lnTo>
                  <a:pt x="2568673" y="4457302"/>
                </a:lnTo>
                <a:lnTo>
                  <a:pt x="2562846" y="4486161"/>
                </a:lnTo>
                <a:cubicBezTo>
                  <a:pt x="2562846" y="4527914"/>
                  <a:pt x="2596693" y="4561761"/>
                  <a:pt x="2638446" y="4561761"/>
                </a:cubicBezTo>
                <a:lnTo>
                  <a:pt x="2647610" y="4559911"/>
                </a:lnTo>
                <a:lnTo>
                  <a:pt x="2719581" y="5014319"/>
                </a:lnTo>
                <a:lnTo>
                  <a:pt x="0" y="5138663"/>
                </a:lnTo>
                <a:close/>
                <a:moveTo>
                  <a:pt x="9696955" y="2861324"/>
                </a:moveTo>
                <a:lnTo>
                  <a:pt x="8393835" y="4754883"/>
                </a:lnTo>
                <a:lnTo>
                  <a:pt x="2732347" y="5013736"/>
                </a:lnTo>
                <a:lnTo>
                  <a:pt x="2660069" y="4557396"/>
                </a:lnTo>
                <a:lnTo>
                  <a:pt x="2667873" y="4555820"/>
                </a:lnTo>
                <a:cubicBezTo>
                  <a:pt x="2695007" y="4544344"/>
                  <a:pt x="2714046" y="4517476"/>
                  <a:pt x="2714046" y="4486161"/>
                </a:cubicBezTo>
                <a:lnTo>
                  <a:pt x="2711595" y="4474021"/>
                </a:lnTo>
                <a:close/>
                <a:moveTo>
                  <a:pt x="12193200" y="2285021"/>
                </a:moveTo>
                <a:lnTo>
                  <a:pt x="12193200" y="4581170"/>
                </a:lnTo>
                <a:lnTo>
                  <a:pt x="8409753" y="4754155"/>
                </a:lnTo>
                <a:lnTo>
                  <a:pt x="9715284" y="2857093"/>
                </a:lnTo>
                <a:close/>
                <a:moveTo>
                  <a:pt x="11681495" y="0"/>
                </a:moveTo>
                <a:lnTo>
                  <a:pt x="12193200" y="0"/>
                </a:lnTo>
                <a:lnTo>
                  <a:pt x="12193200" y="2271987"/>
                </a:lnTo>
                <a:lnTo>
                  <a:pt x="9725948" y="2841597"/>
                </a:lnTo>
                <a:close/>
                <a:moveTo>
                  <a:pt x="0" y="0"/>
                </a:moveTo>
                <a:lnTo>
                  <a:pt x="11666079" y="0"/>
                </a:lnTo>
                <a:lnTo>
                  <a:pt x="9707619" y="2845829"/>
                </a:lnTo>
                <a:lnTo>
                  <a:pt x="2709081" y="4461568"/>
                </a:lnTo>
                <a:lnTo>
                  <a:pt x="2708105" y="4456734"/>
                </a:lnTo>
                <a:cubicBezTo>
                  <a:pt x="2696629" y="4429600"/>
                  <a:pt x="2669761" y="4410561"/>
                  <a:pt x="2638446" y="4410561"/>
                </a:cubicBezTo>
                <a:cubicBezTo>
                  <a:pt x="2617570" y="4410561"/>
                  <a:pt x="2598670" y="4419023"/>
                  <a:pt x="2584989" y="4432704"/>
                </a:cubicBezTo>
                <a:lnTo>
                  <a:pt x="2575696" y="4446487"/>
                </a:lnTo>
                <a:lnTo>
                  <a:pt x="0" y="3353169"/>
                </a:lnTo>
                <a:close/>
              </a:path>
            </a:pathLst>
          </a:custGeom>
          <a:blipFill>
            <a:blip r:embed="rId9"/>
            <a:stretch>
              <a:fillRect/>
            </a:stretch>
          </a:blipFill>
        </p:spPr>
        <p:txBody>
          <a:bodyPr wrap="square" tIns="0" bIns="828000" anchor="ctr" anchorCtr="1">
            <a:noAutofit/>
          </a:bodyPr>
          <a:lstStyle>
            <a:lvl1pPr>
              <a:buFontTx/>
              <a:buNone/>
              <a:defRPr sz="1600" baseline="0">
                <a:latin typeface="+mn-lt"/>
                <a:ea typeface="+mn-ea"/>
                <a:cs typeface="+mn-cs"/>
              </a:defRPr>
            </a:lvl1pPr>
          </a:lstStyle>
          <a:p>
            <a:r>
              <a:rPr lang="en-US" noProof="0"/>
              <a:t>Click icon to add picture</a:t>
            </a:r>
          </a:p>
        </p:txBody>
      </p:sp>
      <p:sp>
        <p:nvSpPr>
          <p:cNvPr id="35" name="Subtitle"/>
          <p:cNvSpPr>
            <a:spLocks noGrp="1"/>
          </p:cNvSpPr>
          <p:nvPr>
            <p:ph type="subTitle" idx="1" hasCustomPrompt="1"/>
          </p:nvPr>
        </p:nvSpPr>
        <p:spPr>
          <a:xfrm>
            <a:off x="624000" y="5662800"/>
            <a:ext cx="8280000" cy="612000"/>
          </a:xfrm>
          <a:prstGeom prst="rect">
            <a:avLst/>
          </a:prstGeom>
        </p:spPr>
        <p:txBody>
          <a:bodyPr vert="horz" wrap="square" lIns="0" tIns="0" rIns="0" bIns="0" rtlCol="0" anchor="b" anchorCtr="0">
            <a:noAutofit/>
          </a:bodyPr>
          <a:lstStyle>
            <a:lvl1pPr marL="0" indent="0" algn="l">
              <a:spcAft>
                <a:spcPts val="0"/>
              </a:spcAft>
              <a:buNone/>
              <a:defRPr lang="en-GB" sz="20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nvPr>
        </p:nvSpPr>
        <p:spPr>
          <a:xfrm>
            <a:off x="624417" y="1240539"/>
            <a:ext cx="8280000" cy="647700"/>
          </a:xfrm>
        </p:spPr>
        <p:txBody>
          <a:bodyPr anchor="b"/>
          <a:lstStyle>
            <a:lvl1pPr algn="l">
              <a:defRPr sz="3600" baseline="0">
                <a:latin typeface="+mj-lt"/>
                <a:ea typeface="+mj-ea"/>
                <a:cs typeface="+mj-cs"/>
              </a:defRPr>
            </a:lvl1pPr>
          </a:lstStyle>
          <a:p>
            <a:r>
              <a:rPr lang="en-US" noProof="0"/>
              <a:t>Please  type in title</a:t>
            </a:r>
          </a:p>
        </p:txBody>
      </p:sp>
      <p:sp>
        <p:nvSpPr>
          <p:cNvPr id="2" name="Datumsplatzhalter 1">
            <a:extLst>
              <a:ext uri="{FF2B5EF4-FFF2-40B4-BE49-F238E27FC236}">
                <a16:creationId xmlns:a16="http://schemas.microsoft.com/office/drawing/2014/main" id="{EA2EAFA6-9074-4AF1-A752-0F777B96593C}"/>
              </a:ext>
            </a:extLst>
          </p:cNvPr>
          <p:cNvSpPr>
            <a:spLocks noGrp="1"/>
          </p:cNvSpPr>
          <p:nvPr>
            <p:ph type="dt" sz="half" idx="10"/>
            <p:custDataLst>
              <p:tags r:id="rId3"/>
            </p:custDataLst>
          </p:nvPr>
        </p:nvSpPr>
        <p:spPr/>
        <p:txBody>
          <a:bodyPr/>
          <a:lstStyle>
            <a:lvl1pPr>
              <a:defRPr baseline="0">
                <a:latin typeface="+mn-lt"/>
                <a:ea typeface="+mn-ea"/>
                <a:cs typeface="+mn-cs"/>
              </a:defRPr>
            </a:lvl1pPr>
          </a:lstStyle>
          <a:p>
            <a:endParaRPr lang="en-US" b="1" dirty="0"/>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4"/>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E30034"/>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5"/>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6"/>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6199DA7C-0CA0-4D66-B211-C7E7EAED8246}"/>
              </a:ext>
            </a:extLst>
          </p:cNvPr>
          <p:cNvSpPr txBox="1"/>
          <p:nvPr>
            <p:custDataLst>
              <p:tags r:id="rId7"/>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 DRAFT -</a:t>
            </a:r>
          </a:p>
        </p:txBody>
      </p:sp>
      <p:grpSp>
        <p:nvGrpSpPr>
          <p:cNvPr id="12" name="Logo">
            <a:extLst>
              <a:ext uri="{FF2B5EF4-FFF2-40B4-BE49-F238E27FC236}">
                <a16:creationId xmlns:a16="http://schemas.microsoft.com/office/drawing/2014/main" id="{ADDB2795-DB3B-40A3-B89C-858C63FC06F1}"/>
              </a:ext>
            </a:extLst>
          </p:cNvPr>
          <p:cNvGrpSpPr/>
          <p:nvPr/>
        </p:nvGrpSpPr>
        <p:grpSpPr>
          <a:xfrm>
            <a:off x="9738355" y="5453288"/>
            <a:ext cx="1830253" cy="800431"/>
            <a:chOff x="9738355" y="5453288"/>
            <a:chExt cx="1830253" cy="800431"/>
          </a:xfrm>
        </p:grpSpPr>
        <p:sp>
          <p:nvSpPr>
            <p:cNvPr id="13" name="Freeform: Shape 12">
              <a:extLst>
                <a:ext uri="{FF2B5EF4-FFF2-40B4-BE49-F238E27FC236}">
                  <a16:creationId xmlns:a16="http://schemas.microsoft.com/office/drawing/2014/main" id="{B0E8F659-6D17-4A54-BF14-8E3536EAD1C1}"/>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baseline="0" noProof="0">
                <a:latin typeface="+mn-lt"/>
                <a:ea typeface="+mn-ea"/>
                <a:cs typeface="+mn-cs"/>
              </a:endParaRPr>
            </a:p>
          </p:txBody>
        </p:sp>
        <p:sp>
          <p:nvSpPr>
            <p:cNvPr id="14" name="Freeform: Shape 13">
              <a:extLst>
                <a:ext uri="{FF2B5EF4-FFF2-40B4-BE49-F238E27FC236}">
                  <a16:creationId xmlns:a16="http://schemas.microsoft.com/office/drawing/2014/main" id="{B383B5BA-723A-4405-A758-172E5648B93E}"/>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baseline="0" noProof="0">
                <a:latin typeface="+mn-lt"/>
                <a:ea typeface="+mn-ea"/>
                <a:cs typeface="+mn-cs"/>
              </a:endParaRPr>
            </a:p>
          </p:txBody>
        </p:sp>
      </p:gr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3803303962"/>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clipArtAndTx" preserve="1">
  <p:cSld name="IFX_PresentationTitle_2">
    <p:bg>
      <p:bgPr>
        <a:solidFill>
          <a:schemeClr val="bg1"/>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5551E69-3D3B-41CA-A8B5-4B985ECEC843}"/>
              </a:ext>
            </a:extLst>
          </p:cNvPr>
          <p:cNvSpPr>
            <a:spLocks noGrp="1"/>
          </p:cNvSpPr>
          <p:nvPr>
            <p:ph type="dt" sz="half" idx="10"/>
            <p:custDataLst>
              <p:tags r:id="rId1"/>
            </p:custDataLst>
          </p:nvPr>
        </p:nvSpPr>
        <p:spPr/>
        <p:txBody>
          <a:bodyPr/>
          <a:lstStyle>
            <a:lvl1pPr>
              <a:defRPr baseline="0">
                <a:latin typeface="+mn-lt"/>
                <a:ea typeface="+mn-ea"/>
                <a:cs typeface="+mn-cs"/>
              </a:defRPr>
            </a:lvl1pPr>
          </a:lstStyle>
          <a:p>
            <a:endParaRPr lang="en-US" b="1" dirty="0"/>
          </a:p>
        </p:txBody>
      </p:sp>
      <p:sp>
        <p:nvSpPr>
          <p:cNvPr id="3" name="Fußzeilenplatzhalter 2">
            <a:extLst>
              <a:ext uri="{FF2B5EF4-FFF2-40B4-BE49-F238E27FC236}">
                <a16:creationId xmlns:a16="http://schemas.microsoft.com/office/drawing/2014/main" id="{F306B1A7-458C-4A6A-8238-EF8F757B602F}"/>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5" name="LOGO PROTECTION" hidden="1">
            <a:extLst>
              <a:ext uri="{FF2B5EF4-FFF2-40B4-BE49-F238E27FC236}">
                <a16:creationId xmlns:a16="http://schemas.microsoft.com/office/drawing/2014/main" id="{D04A951B-0B3C-4A20-86D2-B3C8F8FB9563}"/>
              </a:ext>
            </a:extLst>
          </p:cNvPr>
          <p:cNvSpPr/>
          <p:nvPr>
            <p:custDataLst>
              <p:tags r:id="rId3"/>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AFE04B5B-4266-446C-AFD4-7F662DB99088}"/>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1" name="Picture Placeholder 20">
            <a:extLst>
              <a:ext uri="{FF2B5EF4-FFF2-40B4-BE49-F238E27FC236}">
                <a16:creationId xmlns:a16="http://schemas.microsoft.com/office/drawing/2014/main" id="{078FA743-D255-4464-8B0A-0C6C3C86AF67}"/>
              </a:ext>
            </a:extLst>
          </p:cNvPr>
          <p:cNvSpPr>
            <a:spLocks noGrp="1"/>
          </p:cNvSpPr>
          <p:nvPr>
            <p:ph type="pic" sz="quarter" idx="31"/>
          </p:nvPr>
        </p:nvSpPr>
        <p:spPr>
          <a:xfrm>
            <a:off x="2620" y="1"/>
            <a:ext cx="12192000" cy="3914479"/>
          </a:xfrm>
          <a:custGeom>
            <a:avLst/>
            <a:gdLst>
              <a:gd name="connsiteX0" fmla="*/ 0 w 12192000"/>
              <a:gd name="connsiteY0" fmla="*/ 754254 h 3914479"/>
              <a:gd name="connsiteX1" fmla="*/ 3718844 w 12192000"/>
              <a:gd name="connsiteY1" fmla="*/ 1409987 h 3914479"/>
              <a:gd name="connsiteX2" fmla="*/ 3717075 w 12192000"/>
              <a:gd name="connsiteY2" fmla="*/ 1418748 h 3914479"/>
              <a:gd name="connsiteX3" fmla="*/ 3792675 w 12192000"/>
              <a:gd name="connsiteY3" fmla="*/ 1494348 h 3914479"/>
              <a:gd name="connsiteX4" fmla="*/ 3822102 w 12192000"/>
              <a:gd name="connsiteY4" fmla="*/ 1488407 h 3914479"/>
              <a:gd name="connsiteX5" fmla="*/ 3827476 w 12192000"/>
              <a:gd name="connsiteY5" fmla="*/ 1484784 h 3914479"/>
              <a:gd name="connsiteX6" fmla="*/ 4940342 w 12192000"/>
              <a:gd name="connsiteY6" fmla="*/ 3668903 h 3914479"/>
              <a:gd name="connsiteX7" fmla="*/ 1040095 w 12192000"/>
              <a:gd name="connsiteY7" fmla="*/ 3866924 h 3914479"/>
              <a:gd name="connsiteX8" fmla="*/ 0 w 12192000"/>
              <a:gd name="connsiteY8" fmla="*/ 3914479 h 3914479"/>
              <a:gd name="connsiteX9" fmla="*/ 8538152 w 12192000"/>
              <a:gd name="connsiteY9" fmla="*/ 0 h 3914479"/>
              <a:gd name="connsiteX10" fmla="*/ 12192000 w 12192000"/>
              <a:gd name="connsiteY10" fmla="*/ 0 h 3914479"/>
              <a:gd name="connsiteX11" fmla="*/ 12192000 w 12192000"/>
              <a:gd name="connsiteY11" fmla="*/ 1782101 h 3914479"/>
              <a:gd name="connsiteX12" fmla="*/ 4684292 w 12192000"/>
              <a:gd name="connsiteY12" fmla="*/ 0 h 3914479"/>
              <a:gd name="connsiteX13" fmla="*/ 8509181 w 12192000"/>
              <a:gd name="connsiteY13" fmla="*/ 0 h 3914479"/>
              <a:gd name="connsiteX14" fmla="*/ 12192000 w 12192000"/>
              <a:gd name="connsiteY14" fmla="*/ 1796231 h 3914479"/>
              <a:gd name="connsiteX15" fmla="*/ 12192000 w 12192000"/>
              <a:gd name="connsiteY15" fmla="*/ 3300727 h 3914479"/>
              <a:gd name="connsiteX16" fmla="*/ 4954235 w 12192000"/>
              <a:gd name="connsiteY16" fmla="*/ 3668198 h 3914479"/>
              <a:gd name="connsiteX17" fmla="*/ 3838086 w 12192000"/>
              <a:gd name="connsiteY17" fmla="*/ 1477631 h 3914479"/>
              <a:gd name="connsiteX18" fmla="*/ 3846133 w 12192000"/>
              <a:gd name="connsiteY18" fmla="*/ 1472206 h 3914479"/>
              <a:gd name="connsiteX19" fmla="*/ 3868275 w 12192000"/>
              <a:gd name="connsiteY19" fmla="*/ 1418748 h 3914479"/>
              <a:gd name="connsiteX20" fmla="*/ 3846133 w 12192000"/>
              <a:gd name="connsiteY20" fmla="*/ 1365291 h 3914479"/>
              <a:gd name="connsiteX21" fmla="*/ 3835600 w 12192000"/>
              <a:gd name="connsiteY21" fmla="*/ 1358189 h 3914479"/>
              <a:gd name="connsiteX22" fmla="*/ 0 w 12192000"/>
              <a:gd name="connsiteY22" fmla="*/ 0 h 3914479"/>
              <a:gd name="connsiteX23" fmla="*/ 4669316 w 12192000"/>
              <a:gd name="connsiteY23" fmla="*/ 0 h 3914479"/>
              <a:gd name="connsiteX24" fmla="*/ 3825063 w 12192000"/>
              <a:gd name="connsiteY24" fmla="*/ 1351086 h 3914479"/>
              <a:gd name="connsiteX25" fmla="*/ 3822102 w 12192000"/>
              <a:gd name="connsiteY25" fmla="*/ 1349089 h 3914479"/>
              <a:gd name="connsiteX26" fmla="*/ 3792675 w 12192000"/>
              <a:gd name="connsiteY26" fmla="*/ 1343148 h 3914479"/>
              <a:gd name="connsiteX27" fmla="*/ 3723016 w 12192000"/>
              <a:gd name="connsiteY27" fmla="*/ 1389321 h 3914479"/>
              <a:gd name="connsiteX28" fmla="*/ 3721358 w 12192000"/>
              <a:gd name="connsiteY28" fmla="*/ 1397534 h 3914479"/>
              <a:gd name="connsiteX29" fmla="*/ 0 w 12192000"/>
              <a:gd name="connsiteY29" fmla="*/ 741358 h 391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2000" h="3914479">
                <a:moveTo>
                  <a:pt x="0" y="754254"/>
                </a:moveTo>
                <a:lnTo>
                  <a:pt x="3718844" y="1409987"/>
                </a:lnTo>
                <a:lnTo>
                  <a:pt x="3717075" y="1418748"/>
                </a:lnTo>
                <a:cubicBezTo>
                  <a:pt x="3717075" y="1460501"/>
                  <a:pt x="3750922" y="1494348"/>
                  <a:pt x="3792675" y="1494348"/>
                </a:cubicBezTo>
                <a:cubicBezTo>
                  <a:pt x="3803114" y="1494348"/>
                  <a:pt x="3813058" y="1492233"/>
                  <a:pt x="3822102" y="1488407"/>
                </a:cubicBezTo>
                <a:lnTo>
                  <a:pt x="3827476" y="1484784"/>
                </a:lnTo>
                <a:lnTo>
                  <a:pt x="4940342" y="3668903"/>
                </a:lnTo>
                <a:lnTo>
                  <a:pt x="1040095" y="3866924"/>
                </a:lnTo>
                <a:lnTo>
                  <a:pt x="0" y="3914479"/>
                </a:lnTo>
                <a:close/>
                <a:moveTo>
                  <a:pt x="8538152" y="0"/>
                </a:moveTo>
                <a:lnTo>
                  <a:pt x="12192000" y="0"/>
                </a:lnTo>
                <a:lnTo>
                  <a:pt x="12192000" y="1782101"/>
                </a:lnTo>
                <a:close/>
                <a:moveTo>
                  <a:pt x="4684292" y="0"/>
                </a:moveTo>
                <a:lnTo>
                  <a:pt x="8509181" y="0"/>
                </a:lnTo>
                <a:lnTo>
                  <a:pt x="12192000" y="1796231"/>
                </a:lnTo>
                <a:lnTo>
                  <a:pt x="12192000" y="3300727"/>
                </a:lnTo>
                <a:lnTo>
                  <a:pt x="4954235" y="3668198"/>
                </a:lnTo>
                <a:lnTo>
                  <a:pt x="3838086" y="1477631"/>
                </a:lnTo>
                <a:lnTo>
                  <a:pt x="3846133" y="1472206"/>
                </a:lnTo>
                <a:cubicBezTo>
                  <a:pt x="3859814" y="1458525"/>
                  <a:pt x="3868275" y="1439625"/>
                  <a:pt x="3868275" y="1418748"/>
                </a:cubicBezTo>
                <a:cubicBezTo>
                  <a:pt x="3868275" y="1397872"/>
                  <a:pt x="3859814" y="1378972"/>
                  <a:pt x="3846133" y="1365291"/>
                </a:cubicBezTo>
                <a:lnTo>
                  <a:pt x="3835600" y="1358189"/>
                </a:lnTo>
                <a:close/>
                <a:moveTo>
                  <a:pt x="0" y="0"/>
                </a:moveTo>
                <a:lnTo>
                  <a:pt x="4669316" y="0"/>
                </a:lnTo>
                <a:lnTo>
                  <a:pt x="3825063" y="1351086"/>
                </a:lnTo>
                <a:lnTo>
                  <a:pt x="3822102" y="1349089"/>
                </a:lnTo>
                <a:cubicBezTo>
                  <a:pt x="3813058" y="1345264"/>
                  <a:pt x="3803114" y="1343148"/>
                  <a:pt x="3792675" y="1343148"/>
                </a:cubicBezTo>
                <a:cubicBezTo>
                  <a:pt x="3761361" y="1343148"/>
                  <a:pt x="3734493" y="1362187"/>
                  <a:pt x="3723016" y="1389321"/>
                </a:cubicBezTo>
                <a:lnTo>
                  <a:pt x="3721358" y="1397534"/>
                </a:lnTo>
                <a:lnTo>
                  <a:pt x="0" y="741358"/>
                </a:lnTo>
                <a:close/>
              </a:path>
            </a:pathLst>
          </a:custGeom>
          <a:blipFill>
            <a:blip r:embed="rId9"/>
            <a:stretch>
              <a:fillRect/>
            </a:stretch>
          </a:blipFill>
        </p:spPr>
        <p:txBody>
          <a:bodyPr wrap="square" bIns="828000" anchor="ctr" anchorCtr="1">
            <a:noAutofit/>
          </a:bodyPr>
          <a:lstStyle>
            <a:lvl1pPr>
              <a:buFontTx/>
              <a:buNone/>
              <a:defRPr sz="1600" baseline="0">
                <a:latin typeface="+mn-lt"/>
                <a:ea typeface="+mn-ea"/>
                <a:cs typeface="+mn-cs"/>
              </a:defRPr>
            </a:lvl1pPr>
          </a:lstStyle>
          <a:p>
            <a:r>
              <a:rPr lang="en-US" noProof="0"/>
              <a:t>Click icon to add pictur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nvPr>
        </p:nvSpPr>
        <p:spPr>
          <a:xfrm>
            <a:off x="624001" y="4619032"/>
            <a:ext cx="10836000" cy="648000"/>
          </a:xfrm>
        </p:spPr>
        <p:txBody>
          <a:bodyPr anchor="b"/>
          <a:lstStyle>
            <a:lvl1pPr algn="l">
              <a:defRPr sz="3600" baseline="0">
                <a:latin typeface="+mj-lt"/>
                <a:ea typeface="+mj-ea"/>
                <a:cs typeface="+mj-cs"/>
              </a:defRPr>
            </a:lvl1pPr>
          </a:lstStyle>
          <a:p>
            <a:r>
              <a:rPr lang="en-US" noProof="0"/>
              <a:t>Please type in title</a:t>
            </a:r>
          </a:p>
        </p:txBody>
      </p:sp>
      <p:sp>
        <p:nvSpPr>
          <p:cNvPr id="36" name="Subtitle"/>
          <p:cNvSpPr>
            <a:spLocks noGrp="1"/>
          </p:cNvSpPr>
          <p:nvPr>
            <p:ph type="subTitle" idx="1" hasCustomPrompt="1"/>
          </p:nvPr>
        </p:nvSpPr>
        <p:spPr>
          <a:xfrm>
            <a:off x="624000" y="5662800"/>
            <a:ext cx="8280000" cy="612000"/>
          </a:xfrm>
          <a:prstGeom prst="rect">
            <a:avLst/>
          </a:prstGeom>
        </p:spPr>
        <p:txBody>
          <a:bodyPr vert="horz" wrap="square" lIns="0" tIns="0" rIns="0" bIns="0" rtlCol="0" anchor="b" anchorCtr="0">
            <a:noAutofit/>
          </a:bodyPr>
          <a:lstStyle>
            <a:lvl1pPr marL="0" indent="0" algn="l">
              <a:spcAft>
                <a:spcPts val="0"/>
              </a:spcAft>
              <a:buNone/>
              <a:defRPr lang="en-GB" sz="20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4" name="Foliennummernplatzhalter 3">
            <a:extLst>
              <a:ext uri="{FF2B5EF4-FFF2-40B4-BE49-F238E27FC236}">
                <a16:creationId xmlns:a16="http://schemas.microsoft.com/office/drawing/2014/main" id="{1673F0E5-8873-4F71-BEE6-A9C2F0E2EE62}"/>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4"/>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E30034"/>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5"/>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6"/>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p:custDataLst>
              <p:tags r:id="rId7"/>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 DRAFT -</a:t>
            </a:r>
          </a:p>
        </p:txBody>
      </p:sp>
      <p:grpSp>
        <p:nvGrpSpPr>
          <p:cNvPr id="12" name="Logo">
            <a:extLst>
              <a:ext uri="{FF2B5EF4-FFF2-40B4-BE49-F238E27FC236}">
                <a16:creationId xmlns:a16="http://schemas.microsoft.com/office/drawing/2014/main" id="{7D4C4BA3-EB41-4D16-AC7A-1D39D9C25FCF}"/>
              </a:ext>
            </a:extLst>
          </p:cNvPr>
          <p:cNvGrpSpPr/>
          <p:nvPr/>
        </p:nvGrpSpPr>
        <p:grpSpPr>
          <a:xfrm>
            <a:off x="9738355" y="5453288"/>
            <a:ext cx="1830253" cy="800431"/>
            <a:chOff x="9738355" y="5453288"/>
            <a:chExt cx="1830253" cy="800431"/>
          </a:xfrm>
        </p:grpSpPr>
        <p:sp>
          <p:nvSpPr>
            <p:cNvPr id="13" name="Freeform: Shape 12">
              <a:extLst>
                <a:ext uri="{FF2B5EF4-FFF2-40B4-BE49-F238E27FC236}">
                  <a16:creationId xmlns:a16="http://schemas.microsoft.com/office/drawing/2014/main" id="{2F453EFB-4C66-424D-935B-1B2057CC2B64}"/>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baseline="0" noProof="0">
                <a:latin typeface="+mn-lt"/>
                <a:ea typeface="+mn-ea"/>
                <a:cs typeface="+mn-cs"/>
              </a:endParaRPr>
            </a:p>
          </p:txBody>
        </p:sp>
        <p:sp>
          <p:nvSpPr>
            <p:cNvPr id="14" name="Freeform: Shape 13">
              <a:extLst>
                <a:ext uri="{FF2B5EF4-FFF2-40B4-BE49-F238E27FC236}">
                  <a16:creationId xmlns:a16="http://schemas.microsoft.com/office/drawing/2014/main" id="{E26861E4-4C53-40F8-8225-0CFFDC5696CD}"/>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baseline="0" noProof="0">
                <a:latin typeface="+mn-lt"/>
                <a:ea typeface="+mn-ea"/>
                <a:cs typeface="+mn-cs"/>
              </a:endParaRPr>
            </a:p>
          </p:txBody>
        </p:sp>
      </p:gr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1461362555"/>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IFX_PresentationTitle_3">
    <p:bg>
      <p:bgPr>
        <a:solidFill>
          <a:schemeClr val="bg1"/>
        </a:solidFill>
        <a:effectLst/>
      </p:bgPr>
    </p:bg>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7F429FB-EA3F-46F9-9B4C-D54C912EA909}"/>
              </a:ext>
            </a:extLst>
          </p:cNvPr>
          <p:cNvSpPr>
            <a:spLocks noGrp="1"/>
          </p:cNvSpPr>
          <p:nvPr>
            <p:ph type="dt" sz="half" idx="10"/>
            <p:custDataLst>
              <p:tags r:id="rId1"/>
            </p:custDataLst>
          </p:nvPr>
        </p:nvSpPr>
        <p:spPr/>
        <p:txBody>
          <a:bodyPr/>
          <a:lstStyle>
            <a:lvl1pPr>
              <a:defRPr baseline="0">
                <a:latin typeface="+mn-lt"/>
                <a:ea typeface="+mn-ea"/>
                <a:cs typeface="+mn-cs"/>
              </a:defRPr>
            </a:lvl1pPr>
          </a:lstStyle>
          <a:p>
            <a:endParaRPr lang="en-US" b="1" dirty="0"/>
          </a:p>
        </p:txBody>
      </p:sp>
      <p:sp>
        <p:nvSpPr>
          <p:cNvPr id="3" name="Fußzeilenplatzhalter 2">
            <a:extLst>
              <a:ext uri="{FF2B5EF4-FFF2-40B4-BE49-F238E27FC236}">
                <a16:creationId xmlns:a16="http://schemas.microsoft.com/office/drawing/2014/main" id="{836C2EF9-8158-48F4-B8B9-083957D22F7C}"/>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5" name="LOGO PROTECTION" hidden="1">
            <a:extLst>
              <a:ext uri="{FF2B5EF4-FFF2-40B4-BE49-F238E27FC236}">
                <a16:creationId xmlns:a16="http://schemas.microsoft.com/office/drawing/2014/main" id="{1AFC5FC0-8899-46D7-81F3-E691DED69C5B}"/>
              </a:ext>
            </a:extLst>
          </p:cNvPr>
          <p:cNvSpPr/>
          <p:nvPr>
            <p:custDataLst>
              <p:tags r:id="rId3"/>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Background White">
            <a:extLst>
              <a:ext uri="{FF2B5EF4-FFF2-40B4-BE49-F238E27FC236}">
                <a16:creationId xmlns:a16="http://schemas.microsoft.com/office/drawing/2014/main" id="{11199FE4-A164-44CF-AA03-877B11877F50}"/>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3" name="Picture Placeholder 22">
            <a:extLst>
              <a:ext uri="{FF2B5EF4-FFF2-40B4-BE49-F238E27FC236}">
                <a16:creationId xmlns:a16="http://schemas.microsoft.com/office/drawing/2014/main" id="{FAA4B13D-C5E4-4396-AE89-5B44F620D20C}"/>
              </a:ext>
            </a:extLst>
          </p:cNvPr>
          <p:cNvSpPr>
            <a:spLocks noGrp="1"/>
          </p:cNvSpPr>
          <p:nvPr>
            <p:ph type="pic" sz="quarter" idx="33"/>
          </p:nvPr>
        </p:nvSpPr>
        <p:spPr>
          <a:xfrm>
            <a:off x="7850960" y="0"/>
            <a:ext cx="4344215" cy="3439727"/>
          </a:xfrm>
          <a:custGeom>
            <a:avLst/>
            <a:gdLst>
              <a:gd name="connsiteX0" fmla="*/ 575284 w 4344215"/>
              <a:gd name="connsiteY0" fmla="*/ 0 h 3439727"/>
              <a:gd name="connsiteX1" fmla="*/ 4344215 w 4344215"/>
              <a:gd name="connsiteY1" fmla="*/ 0 h 3439727"/>
              <a:gd name="connsiteX2" fmla="*/ 4344215 w 4344215"/>
              <a:gd name="connsiteY2" fmla="*/ 3291560 h 3439727"/>
              <a:gd name="connsiteX3" fmla="*/ 1425892 w 4344215"/>
              <a:gd name="connsiteY3" fmla="*/ 3439727 h 3439727"/>
              <a:gd name="connsiteX4" fmla="*/ 30731 w 4344215"/>
              <a:gd name="connsiteY4" fmla="*/ 1890244 h 3439727"/>
              <a:gd name="connsiteX5" fmla="*/ 44102 w 4344215"/>
              <a:gd name="connsiteY5" fmla="*/ 1870411 h 3439727"/>
              <a:gd name="connsiteX6" fmla="*/ 50043 w 4344215"/>
              <a:gd name="connsiteY6" fmla="*/ 1840984 h 3439727"/>
              <a:gd name="connsiteX7" fmla="*/ 3870 w 4344215"/>
              <a:gd name="connsiteY7" fmla="*/ 1771325 h 3439727"/>
              <a:gd name="connsiteX8" fmla="*/ 0 w 4344215"/>
              <a:gd name="connsiteY8" fmla="*/ 1770544 h 343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4215" h="3439727">
                <a:moveTo>
                  <a:pt x="575284" y="0"/>
                </a:moveTo>
                <a:lnTo>
                  <a:pt x="4344215" y="0"/>
                </a:lnTo>
                <a:lnTo>
                  <a:pt x="4344215" y="3291560"/>
                </a:lnTo>
                <a:lnTo>
                  <a:pt x="1425892" y="3439727"/>
                </a:lnTo>
                <a:lnTo>
                  <a:pt x="30731" y="1890244"/>
                </a:lnTo>
                <a:lnTo>
                  <a:pt x="44102" y="1870411"/>
                </a:lnTo>
                <a:cubicBezTo>
                  <a:pt x="47928" y="1861366"/>
                  <a:pt x="50043" y="1851422"/>
                  <a:pt x="50043" y="1840984"/>
                </a:cubicBezTo>
                <a:cubicBezTo>
                  <a:pt x="50043" y="1809669"/>
                  <a:pt x="31004" y="1782802"/>
                  <a:pt x="3870" y="1771325"/>
                </a:cubicBezTo>
                <a:lnTo>
                  <a:pt x="0" y="1770544"/>
                </a:lnTo>
                <a:close/>
              </a:path>
            </a:pathLst>
          </a:custGeom>
          <a:solidFill>
            <a:schemeClr val="bg2"/>
          </a:solidFill>
        </p:spPr>
        <p:txBody>
          <a:bodyPr wrap="square" bIns="1008000" anchor="ctr" anchorCtr="1">
            <a:noAutofit/>
          </a:bodyPr>
          <a:lstStyle>
            <a:lvl1pPr>
              <a:buFontTx/>
              <a:buNone/>
              <a:defRPr sz="1600" baseline="0">
                <a:latin typeface="+mn-lt"/>
                <a:ea typeface="+mn-ea"/>
                <a:cs typeface="+mn-cs"/>
              </a:defRPr>
            </a:lvl1pPr>
          </a:lstStyle>
          <a:p>
            <a:r>
              <a:rPr lang="en-US" noProof="0"/>
              <a:t>Click icon to add picture</a:t>
            </a:r>
          </a:p>
        </p:txBody>
      </p:sp>
      <p:sp>
        <p:nvSpPr>
          <p:cNvPr id="30" name="Picture Placeholder 29">
            <a:extLst>
              <a:ext uri="{FF2B5EF4-FFF2-40B4-BE49-F238E27FC236}">
                <a16:creationId xmlns:a16="http://schemas.microsoft.com/office/drawing/2014/main" id="{D7FAA3EB-4EA2-4D79-807B-405B94E04154}"/>
              </a:ext>
            </a:extLst>
          </p:cNvPr>
          <p:cNvSpPr>
            <a:spLocks noGrp="1"/>
          </p:cNvSpPr>
          <p:nvPr>
            <p:ph type="pic" sz="quarter" idx="32"/>
          </p:nvPr>
        </p:nvSpPr>
        <p:spPr>
          <a:xfrm>
            <a:off x="3624894" y="1"/>
            <a:ext cx="5635624" cy="3690265"/>
          </a:xfrm>
          <a:custGeom>
            <a:avLst/>
            <a:gdLst>
              <a:gd name="connsiteX0" fmla="*/ 4142496 w 5635624"/>
              <a:gd name="connsiteY0" fmla="*/ 1887683 h 3690265"/>
              <a:gd name="connsiteX1" fmla="*/ 4147052 w 5635624"/>
              <a:gd name="connsiteY1" fmla="*/ 1894440 h 3690265"/>
              <a:gd name="connsiteX2" fmla="*/ 4200509 w 5635624"/>
              <a:gd name="connsiteY2" fmla="*/ 1916583 h 3690265"/>
              <a:gd name="connsiteX3" fmla="*/ 4229936 w 5635624"/>
              <a:gd name="connsiteY3" fmla="*/ 1910642 h 3690265"/>
              <a:gd name="connsiteX4" fmla="*/ 4232083 w 5635624"/>
              <a:gd name="connsiteY4" fmla="*/ 1909195 h 3690265"/>
              <a:gd name="connsiteX5" fmla="*/ 4247451 w 5635624"/>
              <a:gd name="connsiteY5" fmla="*/ 1898834 h 3690265"/>
              <a:gd name="connsiteX6" fmla="*/ 5635624 w 5635624"/>
              <a:gd name="connsiteY6" fmla="*/ 3440556 h 3690265"/>
              <a:gd name="connsiteX7" fmla="*/ 1825021 w 5635624"/>
              <a:gd name="connsiteY7" fmla="*/ 3634026 h 3690265"/>
              <a:gd name="connsiteX8" fmla="*/ 0 w 5635624"/>
              <a:gd name="connsiteY8" fmla="*/ 0 h 3690265"/>
              <a:gd name="connsiteX9" fmla="*/ 4787988 w 5635624"/>
              <a:gd name="connsiteY9" fmla="*/ 0 h 3690265"/>
              <a:gd name="connsiteX10" fmla="*/ 4213526 w 5635624"/>
              <a:gd name="connsiteY10" fmla="*/ 1768011 h 3690265"/>
              <a:gd name="connsiteX11" fmla="*/ 4200509 w 5635624"/>
              <a:gd name="connsiteY11" fmla="*/ 1765383 h 3690265"/>
              <a:gd name="connsiteX12" fmla="*/ 4124909 w 5635624"/>
              <a:gd name="connsiteY12" fmla="*/ 1840983 h 3690265"/>
              <a:gd name="connsiteX13" fmla="*/ 4130850 w 5635624"/>
              <a:gd name="connsiteY13" fmla="*/ 1870410 h 3690265"/>
              <a:gd name="connsiteX14" fmla="*/ 4135387 w 5635624"/>
              <a:gd name="connsiteY14" fmla="*/ 1877139 h 3690265"/>
              <a:gd name="connsiteX15" fmla="*/ 1802395 w 5635624"/>
              <a:gd name="connsiteY15" fmla="*/ 3635174 h 3690265"/>
              <a:gd name="connsiteX16" fmla="*/ 717315 w 5635624"/>
              <a:gd name="connsiteY16" fmla="*/ 3690265 h 369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35624" h="3690265">
                <a:moveTo>
                  <a:pt x="4142496" y="1887683"/>
                </a:moveTo>
                <a:lnTo>
                  <a:pt x="4147052" y="1894440"/>
                </a:lnTo>
                <a:cubicBezTo>
                  <a:pt x="4160733" y="1908121"/>
                  <a:pt x="4179633" y="1916583"/>
                  <a:pt x="4200509" y="1916583"/>
                </a:cubicBezTo>
                <a:cubicBezTo>
                  <a:pt x="4210947" y="1916583"/>
                  <a:pt x="4220892" y="1914468"/>
                  <a:pt x="4229936" y="1910642"/>
                </a:cubicBezTo>
                <a:lnTo>
                  <a:pt x="4232083" y="1909195"/>
                </a:lnTo>
                <a:lnTo>
                  <a:pt x="4247451" y="1898834"/>
                </a:lnTo>
                <a:lnTo>
                  <a:pt x="5635624" y="3440556"/>
                </a:lnTo>
                <a:lnTo>
                  <a:pt x="1825021" y="3634026"/>
                </a:lnTo>
                <a:close/>
                <a:moveTo>
                  <a:pt x="0" y="0"/>
                </a:moveTo>
                <a:lnTo>
                  <a:pt x="4787988" y="0"/>
                </a:lnTo>
                <a:lnTo>
                  <a:pt x="4213526" y="1768011"/>
                </a:lnTo>
                <a:lnTo>
                  <a:pt x="4200509" y="1765383"/>
                </a:lnTo>
                <a:cubicBezTo>
                  <a:pt x="4158756" y="1765383"/>
                  <a:pt x="4124909" y="1799230"/>
                  <a:pt x="4124909" y="1840983"/>
                </a:cubicBezTo>
                <a:cubicBezTo>
                  <a:pt x="4124909" y="1851421"/>
                  <a:pt x="4127025" y="1861365"/>
                  <a:pt x="4130850" y="1870410"/>
                </a:cubicBezTo>
                <a:lnTo>
                  <a:pt x="4135387" y="1877139"/>
                </a:lnTo>
                <a:lnTo>
                  <a:pt x="1802395" y="3635174"/>
                </a:lnTo>
                <a:lnTo>
                  <a:pt x="717315" y="3690265"/>
                </a:lnTo>
                <a:close/>
              </a:path>
            </a:pathLst>
          </a:custGeom>
          <a:solidFill>
            <a:schemeClr val="bg2"/>
          </a:solidFill>
        </p:spPr>
        <p:txBody>
          <a:bodyPr wrap="square" bIns="1008000" anchor="ctr" anchorCtr="1">
            <a:noAutofit/>
          </a:bodyPr>
          <a:lstStyle>
            <a:lvl1pPr>
              <a:buFontTx/>
              <a:buNone/>
              <a:defRPr sz="1600" baseline="0">
                <a:latin typeface="+mn-lt"/>
                <a:ea typeface="+mn-ea"/>
                <a:cs typeface="+mn-cs"/>
              </a:defRPr>
            </a:lvl1pPr>
          </a:lstStyle>
          <a:p>
            <a:r>
              <a:rPr lang="en-US" noProof="0"/>
              <a:t>Click icon to add picture</a:t>
            </a:r>
            <a:endParaRPr lang="en-US" noProof="0" dirty="0"/>
          </a:p>
        </p:txBody>
      </p:sp>
      <p:sp>
        <p:nvSpPr>
          <p:cNvPr id="24" name="Picture Placeholder 23">
            <a:extLst>
              <a:ext uri="{FF2B5EF4-FFF2-40B4-BE49-F238E27FC236}">
                <a16:creationId xmlns:a16="http://schemas.microsoft.com/office/drawing/2014/main" id="{31EEC104-B33B-4D08-B54C-1059153CA59D}"/>
              </a:ext>
            </a:extLst>
          </p:cNvPr>
          <p:cNvSpPr>
            <a:spLocks noGrp="1"/>
          </p:cNvSpPr>
          <p:nvPr>
            <p:ph type="pic" sz="quarter" idx="31"/>
          </p:nvPr>
        </p:nvSpPr>
        <p:spPr>
          <a:xfrm>
            <a:off x="2" y="0"/>
            <a:ext cx="4331116" cy="3910485"/>
          </a:xfrm>
          <a:custGeom>
            <a:avLst/>
            <a:gdLst>
              <a:gd name="connsiteX0" fmla="*/ 0 w 4331116"/>
              <a:gd name="connsiteY0" fmla="*/ 0 h 3910485"/>
              <a:gd name="connsiteX1" fmla="*/ 3613691 w 4331116"/>
              <a:gd name="connsiteY1" fmla="*/ 0 h 3910485"/>
              <a:gd name="connsiteX2" fmla="*/ 4331116 w 4331116"/>
              <a:gd name="connsiteY2" fmla="*/ 3690829 h 3910485"/>
              <a:gd name="connsiteX3" fmla="*/ 4726 w 4331116"/>
              <a:gd name="connsiteY3" fmla="*/ 3910485 h 3910485"/>
              <a:gd name="connsiteX4" fmla="*/ 0 w 4331116"/>
              <a:gd name="connsiteY4" fmla="*/ 3910485 h 39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1116" h="3910485">
                <a:moveTo>
                  <a:pt x="0" y="0"/>
                </a:moveTo>
                <a:lnTo>
                  <a:pt x="3613691" y="0"/>
                </a:lnTo>
                <a:lnTo>
                  <a:pt x="4331116" y="3690829"/>
                </a:lnTo>
                <a:lnTo>
                  <a:pt x="4726" y="3910485"/>
                </a:lnTo>
                <a:lnTo>
                  <a:pt x="0" y="3910485"/>
                </a:lnTo>
                <a:close/>
              </a:path>
            </a:pathLst>
          </a:custGeom>
          <a:solidFill>
            <a:schemeClr val="bg2"/>
          </a:solidFill>
        </p:spPr>
        <p:txBody>
          <a:bodyPr wrap="square" bIns="1008000" anchor="ctr" anchorCtr="1">
            <a:noAutofit/>
          </a:bodyPr>
          <a:lstStyle>
            <a:lvl1pPr>
              <a:buFontTx/>
              <a:buNone/>
              <a:defRPr sz="1600" baseline="0">
                <a:latin typeface="+mn-lt"/>
                <a:ea typeface="+mn-ea"/>
                <a:cs typeface="+mn-cs"/>
              </a:defRPr>
            </a:lvl1pPr>
          </a:lstStyle>
          <a:p>
            <a:r>
              <a:rPr lang="en-US" noProof="0"/>
              <a:t>Click icon to add picture</a:t>
            </a:r>
          </a:p>
        </p:txBody>
      </p:sp>
      <p:sp>
        <p:nvSpPr>
          <p:cNvPr id="19" name="Title">
            <a:extLst>
              <a:ext uri="{FF2B5EF4-FFF2-40B4-BE49-F238E27FC236}">
                <a16:creationId xmlns:a16="http://schemas.microsoft.com/office/drawing/2014/main" id="{6C91DFA2-3F65-4B14-A4D0-4B6032B03E63}"/>
              </a:ext>
            </a:extLst>
          </p:cNvPr>
          <p:cNvSpPr>
            <a:spLocks noGrp="1"/>
          </p:cNvSpPr>
          <p:nvPr>
            <p:ph type="title" hasCustomPrompt="1"/>
          </p:nvPr>
        </p:nvSpPr>
        <p:spPr>
          <a:xfrm>
            <a:off x="624001" y="4618800"/>
            <a:ext cx="10836000" cy="648000"/>
          </a:xfrm>
        </p:spPr>
        <p:txBody>
          <a:bodyPr anchor="b"/>
          <a:lstStyle>
            <a:lvl1pPr algn="l">
              <a:defRPr sz="3600" baseline="0">
                <a:latin typeface="+mj-lt"/>
                <a:ea typeface="+mj-ea"/>
                <a:cs typeface="+mj-cs"/>
              </a:defRPr>
            </a:lvl1pPr>
          </a:lstStyle>
          <a:p>
            <a:r>
              <a:rPr lang="en-US" noProof="0"/>
              <a:t>Please type in title</a:t>
            </a:r>
          </a:p>
        </p:txBody>
      </p:sp>
      <p:sp>
        <p:nvSpPr>
          <p:cNvPr id="52" name="Subtitle"/>
          <p:cNvSpPr>
            <a:spLocks noGrp="1"/>
          </p:cNvSpPr>
          <p:nvPr>
            <p:ph type="subTitle" idx="1" hasCustomPrompt="1"/>
          </p:nvPr>
        </p:nvSpPr>
        <p:spPr>
          <a:xfrm>
            <a:off x="624000" y="5662800"/>
            <a:ext cx="8280000" cy="612000"/>
          </a:xfrm>
          <a:prstGeom prst="rect">
            <a:avLst/>
          </a:prstGeom>
        </p:spPr>
        <p:txBody>
          <a:bodyPr vert="horz" wrap="square" lIns="0" tIns="0" rIns="0" bIns="0" rtlCol="0" anchor="b" anchorCtr="0">
            <a:noAutofit/>
          </a:bodyPr>
          <a:lstStyle>
            <a:lvl1pPr marL="0" indent="0" algn="l">
              <a:spcAft>
                <a:spcPts val="0"/>
              </a:spcAft>
              <a:buNone/>
              <a:defRPr lang="en-GB" sz="20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a:t>Author (department)</a:t>
            </a:r>
            <a:br>
              <a:rPr lang="en-US" noProof="0"/>
            </a:br>
            <a:r>
              <a:rPr lang="en-US" noProof="0"/>
              <a:t>Date</a:t>
            </a:r>
          </a:p>
        </p:txBody>
      </p:sp>
      <p:sp>
        <p:nvSpPr>
          <p:cNvPr id="4" name="Foliennummernplatzhalter 3">
            <a:extLst>
              <a:ext uri="{FF2B5EF4-FFF2-40B4-BE49-F238E27FC236}">
                <a16:creationId xmlns:a16="http://schemas.microsoft.com/office/drawing/2014/main" id="{497D991E-6F88-4078-B2B7-B714F9F07673}"/>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7" name="empower_classification_attention_placeholder" hidden="1">
            <a:extLst>
              <a:ext uri="{FF2B5EF4-FFF2-40B4-BE49-F238E27FC236}">
                <a16:creationId xmlns:a16="http://schemas.microsoft.com/office/drawing/2014/main" id="{BFD2749C-34D6-4E79-BBA4-4241F8134AE4}"/>
              </a:ext>
            </a:extLst>
          </p:cNvPr>
          <p:cNvSpPr txBox="1"/>
          <p:nvPr>
            <p:custDataLst>
              <p:tags r:id="rId4"/>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E30034"/>
                </a:solidFill>
                <a:latin typeface="+mn-lt"/>
                <a:ea typeface="+mn-ea"/>
                <a:cs typeface="+mn-cs"/>
              </a:rPr>
              <a:t>Restricted</a:t>
            </a:r>
          </a:p>
        </p:txBody>
      </p:sp>
      <p:sp>
        <p:nvSpPr>
          <p:cNvPr id="8" name="empower_classification_placeholder">
            <a:extLst>
              <a:ext uri="{FF2B5EF4-FFF2-40B4-BE49-F238E27FC236}">
                <a16:creationId xmlns:a16="http://schemas.microsoft.com/office/drawing/2014/main" id="{907AF50E-1583-452E-8849-A76F308B3479}"/>
              </a:ext>
            </a:extLst>
          </p:cNvPr>
          <p:cNvSpPr txBox="1"/>
          <p:nvPr>
            <p:custDataLst>
              <p:tags r:id="rId5"/>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restricted</a:t>
            </a:r>
          </a:p>
        </p:txBody>
      </p:sp>
      <p:sp>
        <p:nvSpPr>
          <p:cNvPr id="9" name="empower_document_placeholder" hidden="1">
            <a:extLst>
              <a:ext uri="{FF2B5EF4-FFF2-40B4-BE49-F238E27FC236}">
                <a16:creationId xmlns:a16="http://schemas.microsoft.com/office/drawing/2014/main" id="{381C3FE7-5D2D-4422-B17C-1335687645D8}"/>
              </a:ext>
            </a:extLst>
          </p:cNvPr>
          <p:cNvSpPr txBox="1"/>
          <p:nvPr>
            <p:custDataLst>
              <p:tags r:id="rId6"/>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Owner:   Doc ID:   Vers.: ]</a:t>
            </a:r>
          </a:p>
        </p:txBody>
      </p:sp>
      <p:sp>
        <p:nvSpPr>
          <p:cNvPr id="21" name="empower_draft_placeholder" hidden="1">
            <a:extLst>
              <a:ext uri="{FF2B5EF4-FFF2-40B4-BE49-F238E27FC236}">
                <a16:creationId xmlns:a16="http://schemas.microsoft.com/office/drawing/2014/main" id="{28047F79-0D17-499E-93DF-8D4A0F6C0EBB}"/>
              </a:ext>
            </a:extLst>
          </p:cNvPr>
          <p:cNvSpPr txBox="1"/>
          <p:nvPr>
            <p:custDataLst>
              <p:tags r:id="rId7"/>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1200" kern="0" baseline="0" noProof="0">
                <a:solidFill>
                  <a:srgbClr val="928285"/>
                </a:solidFill>
                <a:latin typeface="+mn-lt"/>
                <a:ea typeface="+mn-ea"/>
                <a:cs typeface="+mn-cs"/>
              </a:rPr>
              <a:t>- DRAFT -</a:t>
            </a:r>
          </a:p>
        </p:txBody>
      </p:sp>
      <p:grpSp>
        <p:nvGrpSpPr>
          <p:cNvPr id="12" name="Logo">
            <a:extLst>
              <a:ext uri="{FF2B5EF4-FFF2-40B4-BE49-F238E27FC236}">
                <a16:creationId xmlns:a16="http://schemas.microsoft.com/office/drawing/2014/main" id="{D2E933FD-444A-48FB-B09D-535A3E31856D}"/>
              </a:ext>
            </a:extLst>
          </p:cNvPr>
          <p:cNvGrpSpPr/>
          <p:nvPr/>
        </p:nvGrpSpPr>
        <p:grpSpPr>
          <a:xfrm>
            <a:off x="9738355" y="5453288"/>
            <a:ext cx="1830253" cy="800431"/>
            <a:chOff x="9738355" y="5453288"/>
            <a:chExt cx="1830253" cy="800431"/>
          </a:xfrm>
        </p:grpSpPr>
        <p:sp>
          <p:nvSpPr>
            <p:cNvPr id="13" name="Freeform: Shape 12">
              <a:extLst>
                <a:ext uri="{FF2B5EF4-FFF2-40B4-BE49-F238E27FC236}">
                  <a16:creationId xmlns:a16="http://schemas.microsoft.com/office/drawing/2014/main" id="{7F0F64E4-3ECD-4DA7-9071-88422566879B}"/>
                </a:ext>
              </a:extLst>
            </p:cNvPr>
            <p:cNvSpPr/>
            <p:nvPr/>
          </p:nvSpPr>
          <p:spPr>
            <a:xfrm>
              <a:off x="9979381" y="5528812"/>
              <a:ext cx="1412001" cy="463475"/>
            </a:xfrm>
            <a:custGeom>
              <a:avLst/>
              <a:gdLst>
                <a:gd name="connsiteX0" fmla="*/ 1120063 w 1412001"/>
                <a:gd name="connsiteY0" fmla="*/ 463475 h 463475"/>
                <a:gd name="connsiteX1" fmla="*/ 1209643 w 1412001"/>
                <a:gd name="connsiteY1" fmla="*/ 324691 h 463475"/>
                <a:gd name="connsiteX2" fmla="*/ 1120063 w 1412001"/>
                <a:gd name="connsiteY2" fmla="*/ 189134 h 463475"/>
                <a:gd name="connsiteX3" fmla="*/ 1031773 w 1412001"/>
                <a:gd name="connsiteY3" fmla="*/ 325982 h 463475"/>
                <a:gd name="connsiteX4" fmla="*/ 1120063 w 1412001"/>
                <a:gd name="connsiteY4" fmla="*/ 463475 h 463475"/>
                <a:gd name="connsiteX5" fmla="*/ 1086552 w 1412001"/>
                <a:gd name="connsiteY5" fmla="*/ 324045 h 463475"/>
                <a:gd name="connsiteX6" fmla="*/ 1120063 w 1412001"/>
                <a:gd name="connsiteY6" fmla="*/ 235611 h 463475"/>
                <a:gd name="connsiteX7" fmla="*/ 1154864 w 1412001"/>
                <a:gd name="connsiteY7" fmla="*/ 325336 h 463475"/>
                <a:gd name="connsiteX8" fmla="*/ 1121352 w 1412001"/>
                <a:gd name="connsiteY8" fmla="*/ 418290 h 463475"/>
                <a:gd name="connsiteX9" fmla="*/ 1086552 w 1412001"/>
                <a:gd name="connsiteY9" fmla="*/ 324045 h 463475"/>
                <a:gd name="connsiteX10" fmla="*/ 921571 w 1412001"/>
                <a:gd name="connsiteY10" fmla="*/ 463475 h 463475"/>
                <a:gd name="connsiteX11" fmla="*/ 995683 w 1412001"/>
                <a:gd name="connsiteY11" fmla="*/ 428618 h 463475"/>
                <a:gd name="connsiteX12" fmla="*/ 975705 w 1412001"/>
                <a:gd name="connsiteY12" fmla="*/ 391178 h 463475"/>
                <a:gd name="connsiteX13" fmla="*/ 926082 w 1412001"/>
                <a:gd name="connsiteY13" fmla="*/ 416999 h 463475"/>
                <a:gd name="connsiteX14" fmla="*/ 889993 w 1412001"/>
                <a:gd name="connsiteY14" fmla="*/ 392469 h 463475"/>
                <a:gd name="connsiteX15" fmla="*/ 882259 w 1412001"/>
                <a:gd name="connsiteY15" fmla="*/ 346638 h 463475"/>
                <a:gd name="connsiteX16" fmla="*/ 882259 w 1412001"/>
                <a:gd name="connsiteY16" fmla="*/ 341474 h 463475"/>
                <a:gd name="connsiteX17" fmla="*/ 998261 w 1412001"/>
                <a:gd name="connsiteY17" fmla="*/ 341474 h 463475"/>
                <a:gd name="connsiteX18" fmla="*/ 998261 w 1412001"/>
                <a:gd name="connsiteY18" fmla="*/ 329855 h 463475"/>
                <a:gd name="connsiteX19" fmla="*/ 973127 w 1412001"/>
                <a:gd name="connsiteY19" fmla="*/ 216891 h 463475"/>
                <a:gd name="connsiteX20" fmla="*/ 915126 w 1412001"/>
                <a:gd name="connsiteY20" fmla="*/ 189134 h 463475"/>
                <a:gd name="connsiteX21" fmla="*/ 852614 w 1412001"/>
                <a:gd name="connsiteY21" fmla="*/ 223346 h 463475"/>
                <a:gd name="connsiteX22" fmla="*/ 828770 w 1412001"/>
                <a:gd name="connsiteY22" fmla="*/ 325982 h 463475"/>
                <a:gd name="connsiteX23" fmla="*/ 921571 w 1412001"/>
                <a:gd name="connsiteY23" fmla="*/ 463475 h 463475"/>
                <a:gd name="connsiteX24" fmla="*/ 915771 w 1412001"/>
                <a:gd name="connsiteY24" fmla="*/ 231738 h 463475"/>
                <a:gd name="connsiteX25" fmla="*/ 941549 w 1412001"/>
                <a:gd name="connsiteY25" fmla="*/ 250457 h 463475"/>
                <a:gd name="connsiteX26" fmla="*/ 947349 w 1412001"/>
                <a:gd name="connsiteY26" fmla="*/ 298871 h 463475"/>
                <a:gd name="connsiteX27" fmla="*/ 882259 w 1412001"/>
                <a:gd name="connsiteY27" fmla="*/ 298871 h 463475"/>
                <a:gd name="connsiteX28" fmla="*/ 915771 w 1412001"/>
                <a:gd name="connsiteY28" fmla="*/ 231738 h 463475"/>
                <a:gd name="connsiteX29" fmla="*/ 1252177 w 1412001"/>
                <a:gd name="connsiteY29" fmla="*/ 457020 h 463475"/>
                <a:gd name="connsiteX30" fmla="*/ 1302444 w 1412001"/>
                <a:gd name="connsiteY30" fmla="*/ 457020 h 463475"/>
                <a:gd name="connsiteX31" fmla="*/ 1302444 w 1412001"/>
                <a:gd name="connsiteY31" fmla="*/ 263368 h 463475"/>
                <a:gd name="connsiteX32" fmla="*/ 1339178 w 1412001"/>
                <a:gd name="connsiteY32" fmla="*/ 240129 h 463475"/>
                <a:gd name="connsiteX33" fmla="*/ 1355934 w 1412001"/>
                <a:gd name="connsiteY33" fmla="*/ 246584 h 463475"/>
                <a:gd name="connsiteX34" fmla="*/ 1361734 w 1412001"/>
                <a:gd name="connsiteY34" fmla="*/ 280796 h 463475"/>
                <a:gd name="connsiteX35" fmla="*/ 1361734 w 1412001"/>
                <a:gd name="connsiteY35" fmla="*/ 457020 h 463475"/>
                <a:gd name="connsiteX36" fmla="*/ 1412002 w 1412001"/>
                <a:gd name="connsiteY36" fmla="*/ 457020 h 463475"/>
                <a:gd name="connsiteX37" fmla="*/ 1412002 w 1412001"/>
                <a:gd name="connsiteY37" fmla="*/ 257558 h 463475"/>
                <a:gd name="connsiteX38" fmla="*/ 1399757 w 1412001"/>
                <a:gd name="connsiteY38" fmla="*/ 209790 h 463475"/>
                <a:gd name="connsiteX39" fmla="*/ 1358512 w 1412001"/>
                <a:gd name="connsiteY39" fmla="*/ 191071 h 463475"/>
                <a:gd name="connsiteX40" fmla="*/ 1298577 w 1412001"/>
                <a:gd name="connsiteY40" fmla="*/ 220119 h 463475"/>
                <a:gd name="connsiteX41" fmla="*/ 1292133 w 1412001"/>
                <a:gd name="connsiteY41" fmla="*/ 189134 h 463475"/>
                <a:gd name="connsiteX42" fmla="*/ 1245088 w 1412001"/>
                <a:gd name="connsiteY42" fmla="*/ 201399 h 463475"/>
                <a:gd name="connsiteX43" fmla="*/ 1251532 w 1412001"/>
                <a:gd name="connsiteY43" fmla="*/ 264659 h 463475"/>
                <a:gd name="connsiteX44" fmla="*/ 1251532 w 1412001"/>
                <a:gd name="connsiteY44" fmla="*/ 457020 h 463475"/>
                <a:gd name="connsiteX45" fmla="*/ 668300 w 1412001"/>
                <a:gd name="connsiteY45" fmla="*/ 220119 h 463475"/>
                <a:gd name="connsiteX46" fmla="*/ 661856 w 1412001"/>
                <a:gd name="connsiteY46" fmla="*/ 189134 h 463475"/>
                <a:gd name="connsiteX47" fmla="*/ 614810 w 1412001"/>
                <a:gd name="connsiteY47" fmla="*/ 201399 h 463475"/>
                <a:gd name="connsiteX48" fmla="*/ 621255 w 1412001"/>
                <a:gd name="connsiteY48" fmla="*/ 264659 h 463475"/>
                <a:gd name="connsiteX49" fmla="*/ 621255 w 1412001"/>
                <a:gd name="connsiteY49" fmla="*/ 456375 h 463475"/>
                <a:gd name="connsiteX50" fmla="*/ 671522 w 1412001"/>
                <a:gd name="connsiteY50" fmla="*/ 456375 h 463475"/>
                <a:gd name="connsiteX51" fmla="*/ 671522 w 1412001"/>
                <a:gd name="connsiteY51" fmla="*/ 262722 h 463475"/>
                <a:gd name="connsiteX52" fmla="*/ 708256 w 1412001"/>
                <a:gd name="connsiteY52" fmla="*/ 239484 h 463475"/>
                <a:gd name="connsiteX53" fmla="*/ 725012 w 1412001"/>
                <a:gd name="connsiteY53" fmla="*/ 245939 h 463475"/>
                <a:gd name="connsiteX54" fmla="*/ 730812 w 1412001"/>
                <a:gd name="connsiteY54" fmla="*/ 280151 h 463475"/>
                <a:gd name="connsiteX55" fmla="*/ 730812 w 1412001"/>
                <a:gd name="connsiteY55" fmla="*/ 456375 h 463475"/>
                <a:gd name="connsiteX56" fmla="*/ 781080 w 1412001"/>
                <a:gd name="connsiteY56" fmla="*/ 456375 h 463475"/>
                <a:gd name="connsiteX57" fmla="*/ 781080 w 1412001"/>
                <a:gd name="connsiteY57" fmla="*/ 257558 h 463475"/>
                <a:gd name="connsiteX58" fmla="*/ 768835 w 1412001"/>
                <a:gd name="connsiteY58" fmla="*/ 209790 h 463475"/>
                <a:gd name="connsiteX59" fmla="*/ 727590 w 1412001"/>
                <a:gd name="connsiteY59" fmla="*/ 191071 h 463475"/>
                <a:gd name="connsiteX60" fmla="*/ 668300 w 1412001"/>
                <a:gd name="connsiteY60" fmla="*/ 220119 h 463475"/>
                <a:gd name="connsiteX61" fmla="*/ 53490 w 1412001"/>
                <a:gd name="connsiteY61" fmla="*/ 107154 h 463475"/>
                <a:gd name="connsiteX62" fmla="*/ 106980 w 1412001"/>
                <a:gd name="connsiteY62" fmla="*/ 53577 h 463475"/>
                <a:gd name="connsiteX63" fmla="*/ 53490 w 1412001"/>
                <a:gd name="connsiteY63" fmla="*/ 0 h 463475"/>
                <a:gd name="connsiteX64" fmla="*/ 0 w 1412001"/>
                <a:gd name="connsiteY64" fmla="*/ 53577 h 463475"/>
                <a:gd name="connsiteX65" fmla="*/ 53490 w 1412001"/>
                <a:gd name="connsiteY65" fmla="*/ 107154 h 463475"/>
                <a:gd name="connsiteX66" fmla="*/ 300316 w 1412001"/>
                <a:gd name="connsiteY66" fmla="*/ 457020 h 463475"/>
                <a:gd name="connsiteX67" fmla="*/ 300316 w 1412001"/>
                <a:gd name="connsiteY67" fmla="*/ 257558 h 463475"/>
                <a:gd name="connsiteX68" fmla="*/ 288072 w 1412001"/>
                <a:gd name="connsiteY68" fmla="*/ 209790 h 463475"/>
                <a:gd name="connsiteX69" fmla="*/ 246826 w 1412001"/>
                <a:gd name="connsiteY69" fmla="*/ 191071 h 463475"/>
                <a:gd name="connsiteX70" fmla="*/ 186892 w 1412001"/>
                <a:gd name="connsiteY70" fmla="*/ 220119 h 463475"/>
                <a:gd name="connsiteX71" fmla="*/ 180447 w 1412001"/>
                <a:gd name="connsiteY71" fmla="*/ 189134 h 463475"/>
                <a:gd name="connsiteX72" fmla="*/ 134047 w 1412001"/>
                <a:gd name="connsiteY72" fmla="*/ 202044 h 463475"/>
                <a:gd name="connsiteX73" fmla="*/ 140491 w 1412001"/>
                <a:gd name="connsiteY73" fmla="*/ 265304 h 463475"/>
                <a:gd name="connsiteX74" fmla="*/ 140491 w 1412001"/>
                <a:gd name="connsiteY74" fmla="*/ 457020 h 463475"/>
                <a:gd name="connsiteX75" fmla="*/ 190759 w 1412001"/>
                <a:gd name="connsiteY75" fmla="*/ 457020 h 463475"/>
                <a:gd name="connsiteX76" fmla="*/ 190759 w 1412001"/>
                <a:gd name="connsiteY76" fmla="*/ 263368 h 463475"/>
                <a:gd name="connsiteX77" fmla="*/ 227493 w 1412001"/>
                <a:gd name="connsiteY77" fmla="*/ 240129 h 463475"/>
                <a:gd name="connsiteX78" fmla="*/ 244249 w 1412001"/>
                <a:gd name="connsiteY78" fmla="*/ 246584 h 463475"/>
                <a:gd name="connsiteX79" fmla="*/ 250049 w 1412001"/>
                <a:gd name="connsiteY79" fmla="*/ 280796 h 463475"/>
                <a:gd name="connsiteX80" fmla="*/ 250049 w 1412001"/>
                <a:gd name="connsiteY80" fmla="*/ 457020 h 463475"/>
                <a:gd name="connsiteX81" fmla="*/ 300316 w 1412001"/>
                <a:gd name="connsiteY81" fmla="*/ 457020 h 463475"/>
                <a:gd name="connsiteX82" fmla="*/ 531676 w 1412001"/>
                <a:gd name="connsiteY82" fmla="*/ 92953 h 463475"/>
                <a:gd name="connsiteX83" fmla="*/ 498164 w 1412001"/>
                <a:gd name="connsiteY83" fmla="*/ 126520 h 463475"/>
                <a:gd name="connsiteX84" fmla="*/ 531031 w 1412001"/>
                <a:gd name="connsiteY84" fmla="*/ 160086 h 463475"/>
                <a:gd name="connsiteX85" fmla="*/ 564543 w 1412001"/>
                <a:gd name="connsiteY85" fmla="*/ 126520 h 463475"/>
                <a:gd name="connsiteX86" fmla="*/ 531676 w 1412001"/>
                <a:gd name="connsiteY86" fmla="*/ 92953 h 463475"/>
                <a:gd name="connsiteX87" fmla="*/ 29645 w 1412001"/>
                <a:gd name="connsiteY87" fmla="*/ 457020 h 463475"/>
                <a:gd name="connsiteX88" fmla="*/ 79912 w 1412001"/>
                <a:gd name="connsiteY88" fmla="*/ 457020 h 463475"/>
                <a:gd name="connsiteX89" fmla="*/ 79912 w 1412001"/>
                <a:gd name="connsiteY89" fmla="*/ 142657 h 463475"/>
                <a:gd name="connsiteX90" fmla="*/ 29645 w 1412001"/>
                <a:gd name="connsiteY90" fmla="*/ 149113 h 463475"/>
                <a:gd name="connsiteX91" fmla="*/ 29645 w 1412001"/>
                <a:gd name="connsiteY91" fmla="*/ 457020 h 463475"/>
                <a:gd name="connsiteX92" fmla="*/ 440163 w 1412001"/>
                <a:gd name="connsiteY92" fmla="*/ 123938 h 463475"/>
                <a:gd name="connsiteX93" fmla="*/ 464008 w 1412001"/>
                <a:gd name="connsiteY93" fmla="*/ 131684 h 463475"/>
                <a:gd name="connsiteX94" fmla="*/ 478186 w 1412001"/>
                <a:gd name="connsiteY94" fmla="*/ 92308 h 463475"/>
                <a:gd name="connsiteX95" fmla="*/ 431141 w 1412001"/>
                <a:gd name="connsiteY95" fmla="*/ 78107 h 463475"/>
                <a:gd name="connsiteX96" fmla="*/ 392473 w 1412001"/>
                <a:gd name="connsiteY96" fmla="*/ 91017 h 463475"/>
                <a:gd name="connsiteX97" fmla="*/ 367340 w 1412001"/>
                <a:gd name="connsiteY97" fmla="*/ 160732 h 463475"/>
                <a:gd name="connsiteX98" fmla="*/ 367984 w 1412001"/>
                <a:gd name="connsiteY98" fmla="*/ 194944 h 463475"/>
                <a:gd name="connsiteX99" fmla="*/ 350584 w 1412001"/>
                <a:gd name="connsiteY99" fmla="*/ 194944 h 463475"/>
                <a:gd name="connsiteX100" fmla="*/ 350584 w 1412001"/>
                <a:gd name="connsiteY100" fmla="*/ 239484 h 463475"/>
                <a:gd name="connsiteX101" fmla="*/ 367984 w 1412001"/>
                <a:gd name="connsiteY101" fmla="*/ 239484 h 463475"/>
                <a:gd name="connsiteX102" fmla="*/ 367984 w 1412001"/>
                <a:gd name="connsiteY102" fmla="*/ 456375 h 463475"/>
                <a:gd name="connsiteX103" fmla="*/ 419540 w 1412001"/>
                <a:gd name="connsiteY103" fmla="*/ 456375 h 463475"/>
                <a:gd name="connsiteX104" fmla="*/ 419540 w 1412001"/>
                <a:gd name="connsiteY104" fmla="*/ 240129 h 463475"/>
                <a:gd name="connsiteX105" fmla="*/ 457563 w 1412001"/>
                <a:gd name="connsiteY105" fmla="*/ 240129 h 463475"/>
                <a:gd name="connsiteX106" fmla="*/ 467230 w 1412001"/>
                <a:gd name="connsiteY106" fmla="*/ 195589 h 463475"/>
                <a:gd name="connsiteX107" fmla="*/ 420185 w 1412001"/>
                <a:gd name="connsiteY107" fmla="*/ 195589 h 463475"/>
                <a:gd name="connsiteX108" fmla="*/ 420185 w 1412001"/>
                <a:gd name="connsiteY108" fmla="*/ 155568 h 463475"/>
                <a:gd name="connsiteX109" fmla="*/ 440163 w 1412001"/>
                <a:gd name="connsiteY109" fmla="*/ 123938 h 463475"/>
                <a:gd name="connsiteX110" fmla="*/ 505897 w 1412001"/>
                <a:gd name="connsiteY110" fmla="*/ 457020 h 463475"/>
                <a:gd name="connsiteX111" fmla="*/ 556809 w 1412001"/>
                <a:gd name="connsiteY111" fmla="*/ 457020 h 463475"/>
                <a:gd name="connsiteX112" fmla="*/ 556809 w 1412001"/>
                <a:gd name="connsiteY112" fmla="*/ 191071 h 463475"/>
                <a:gd name="connsiteX113" fmla="*/ 505897 w 1412001"/>
                <a:gd name="connsiteY113" fmla="*/ 197526 h 463475"/>
                <a:gd name="connsiteX114" fmla="*/ 505897 w 1412001"/>
                <a:gd name="connsiteY114" fmla="*/ 457020 h 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412001" h="463475">
                  <a:moveTo>
                    <a:pt x="1120063" y="463475"/>
                  </a:moveTo>
                  <a:cubicBezTo>
                    <a:pt x="1188376" y="463475"/>
                    <a:pt x="1209643" y="391178"/>
                    <a:pt x="1209643" y="324691"/>
                  </a:cubicBezTo>
                  <a:cubicBezTo>
                    <a:pt x="1209643" y="235611"/>
                    <a:pt x="1172264" y="189134"/>
                    <a:pt x="1120063" y="189134"/>
                  </a:cubicBezTo>
                  <a:cubicBezTo>
                    <a:pt x="1054329" y="189134"/>
                    <a:pt x="1031128" y="261431"/>
                    <a:pt x="1031773" y="325982"/>
                  </a:cubicBezTo>
                  <a:cubicBezTo>
                    <a:pt x="1032417" y="389887"/>
                    <a:pt x="1050462" y="463475"/>
                    <a:pt x="1120063" y="463475"/>
                  </a:cubicBezTo>
                  <a:close/>
                  <a:moveTo>
                    <a:pt x="1086552" y="324045"/>
                  </a:moveTo>
                  <a:cubicBezTo>
                    <a:pt x="1086552" y="297580"/>
                    <a:pt x="1086552" y="235611"/>
                    <a:pt x="1120063" y="235611"/>
                  </a:cubicBezTo>
                  <a:cubicBezTo>
                    <a:pt x="1156153" y="235611"/>
                    <a:pt x="1154864" y="296934"/>
                    <a:pt x="1154864" y="325336"/>
                  </a:cubicBezTo>
                  <a:cubicBezTo>
                    <a:pt x="1154864" y="352448"/>
                    <a:pt x="1154864" y="418290"/>
                    <a:pt x="1121352" y="418290"/>
                  </a:cubicBezTo>
                  <a:cubicBezTo>
                    <a:pt x="1085263" y="417644"/>
                    <a:pt x="1086552" y="351802"/>
                    <a:pt x="1086552" y="324045"/>
                  </a:cubicBezTo>
                  <a:close/>
                  <a:moveTo>
                    <a:pt x="921571" y="463475"/>
                  </a:moveTo>
                  <a:cubicBezTo>
                    <a:pt x="949283" y="463475"/>
                    <a:pt x="973127" y="452502"/>
                    <a:pt x="995683" y="428618"/>
                  </a:cubicBezTo>
                  <a:lnTo>
                    <a:pt x="975705" y="391178"/>
                  </a:lnTo>
                  <a:cubicBezTo>
                    <a:pt x="960238" y="407962"/>
                    <a:pt x="944771" y="416999"/>
                    <a:pt x="926082" y="416999"/>
                  </a:cubicBezTo>
                  <a:cubicBezTo>
                    <a:pt x="910615" y="416999"/>
                    <a:pt x="897726" y="407962"/>
                    <a:pt x="889993" y="392469"/>
                  </a:cubicBezTo>
                  <a:cubicBezTo>
                    <a:pt x="883548" y="378914"/>
                    <a:pt x="882259" y="363422"/>
                    <a:pt x="882259" y="346638"/>
                  </a:cubicBezTo>
                  <a:lnTo>
                    <a:pt x="882259" y="341474"/>
                  </a:lnTo>
                  <a:lnTo>
                    <a:pt x="998261" y="341474"/>
                  </a:lnTo>
                  <a:lnTo>
                    <a:pt x="998261" y="329855"/>
                  </a:lnTo>
                  <a:cubicBezTo>
                    <a:pt x="998261" y="272405"/>
                    <a:pt x="991172" y="240775"/>
                    <a:pt x="973127" y="216891"/>
                  </a:cubicBezTo>
                  <a:cubicBezTo>
                    <a:pt x="959594" y="198817"/>
                    <a:pt x="939616" y="189134"/>
                    <a:pt x="915126" y="189134"/>
                  </a:cubicBezTo>
                  <a:cubicBezTo>
                    <a:pt x="889348" y="189134"/>
                    <a:pt x="868081" y="200753"/>
                    <a:pt x="852614" y="223346"/>
                  </a:cubicBezTo>
                  <a:cubicBezTo>
                    <a:pt x="835859" y="247875"/>
                    <a:pt x="828770" y="280796"/>
                    <a:pt x="828770" y="325982"/>
                  </a:cubicBezTo>
                  <a:cubicBezTo>
                    <a:pt x="828125" y="412480"/>
                    <a:pt x="862281" y="463475"/>
                    <a:pt x="921571" y="463475"/>
                  </a:cubicBezTo>
                  <a:close/>
                  <a:moveTo>
                    <a:pt x="915771" y="231738"/>
                  </a:moveTo>
                  <a:cubicBezTo>
                    <a:pt x="928660" y="231738"/>
                    <a:pt x="936394" y="238838"/>
                    <a:pt x="941549" y="250457"/>
                  </a:cubicBezTo>
                  <a:cubicBezTo>
                    <a:pt x="945416" y="260786"/>
                    <a:pt x="947349" y="278214"/>
                    <a:pt x="947349" y="298871"/>
                  </a:cubicBezTo>
                  <a:lnTo>
                    <a:pt x="882259" y="298871"/>
                  </a:lnTo>
                  <a:cubicBezTo>
                    <a:pt x="882904" y="253039"/>
                    <a:pt x="892571" y="231738"/>
                    <a:pt x="915771" y="231738"/>
                  </a:cubicBezTo>
                  <a:close/>
                  <a:moveTo>
                    <a:pt x="1252177" y="457020"/>
                  </a:moveTo>
                  <a:lnTo>
                    <a:pt x="1302444" y="457020"/>
                  </a:lnTo>
                  <a:lnTo>
                    <a:pt x="1302444" y="263368"/>
                  </a:lnTo>
                  <a:cubicBezTo>
                    <a:pt x="1314689" y="248521"/>
                    <a:pt x="1328867" y="240129"/>
                    <a:pt x="1339178" y="240129"/>
                  </a:cubicBezTo>
                  <a:cubicBezTo>
                    <a:pt x="1345623" y="240129"/>
                    <a:pt x="1352067" y="241420"/>
                    <a:pt x="1355934" y="246584"/>
                  </a:cubicBezTo>
                  <a:cubicBezTo>
                    <a:pt x="1359801" y="252394"/>
                    <a:pt x="1361734" y="260786"/>
                    <a:pt x="1361734" y="280796"/>
                  </a:cubicBezTo>
                  <a:lnTo>
                    <a:pt x="1361734" y="457020"/>
                  </a:lnTo>
                  <a:lnTo>
                    <a:pt x="1412002" y="457020"/>
                  </a:lnTo>
                  <a:lnTo>
                    <a:pt x="1412002" y="257558"/>
                  </a:lnTo>
                  <a:cubicBezTo>
                    <a:pt x="1412002" y="240129"/>
                    <a:pt x="1410068" y="222701"/>
                    <a:pt x="1399757" y="209790"/>
                  </a:cubicBezTo>
                  <a:cubicBezTo>
                    <a:pt x="1390735" y="198171"/>
                    <a:pt x="1376557" y="191071"/>
                    <a:pt x="1358512" y="191071"/>
                  </a:cubicBezTo>
                  <a:cubicBezTo>
                    <a:pt x="1335311" y="191071"/>
                    <a:pt x="1311467" y="204626"/>
                    <a:pt x="1298577" y="220119"/>
                  </a:cubicBezTo>
                  <a:cubicBezTo>
                    <a:pt x="1297933" y="206563"/>
                    <a:pt x="1293422" y="193653"/>
                    <a:pt x="1292133" y="189134"/>
                  </a:cubicBezTo>
                  <a:lnTo>
                    <a:pt x="1245088" y="201399"/>
                  </a:lnTo>
                  <a:cubicBezTo>
                    <a:pt x="1247665" y="215600"/>
                    <a:pt x="1251532" y="233029"/>
                    <a:pt x="1251532" y="264659"/>
                  </a:cubicBezTo>
                  <a:lnTo>
                    <a:pt x="1251532" y="457020"/>
                  </a:lnTo>
                  <a:close/>
                  <a:moveTo>
                    <a:pt x="668300" y="220119"/>
                  </a:moveTo>
                  <a:cubicBezTo>
                    <a:pt x="667656" y="206563"/>
                    <a:pt x="663145" y="193653"/>
                    <a:pt x="661856" y="189134"/>
                  </a:cubicBezTo>
                  <a:lnTo>
                    <a:pt x="614810" y="201399"/>
                  </a:lnTo>
                  <a:cubicBezTo>
                    <a:pt x="617388" y="215600"/>
                    <a:pt x="621255" y="233029"/>
                    <a:pt x="621255" y="264659"/>
                  </a:cubicBezTo>
                  <a:lnTo>
                    <a:pt x="621255" y="456375"/>
                  </a:lnTo>
                  <a:lnTo>
                    <a:pt x="671522" y="456375"/>
                  </a:lnTo>
                  <a:lnTo>
                    <a:pt x="671522" y="262722"/>
                  </a:lnTo>
                  <a:cubicBezTo>
                    <a:pt x="683767" y="247875"/>
                    <a:pt x="697945" y="239484"/>
                    <a:pt x="708256" y="239484"/>
                  </a:cubicBezTo>
                  <a:cubicBezTo>
                    <a:pt x="714701" y="239484"/>
                    <a:pt x="721146" y="240775"/>
                    <a:pt x="725012" y="245939"/>
                  </a:cubicBezTo>
                  <a:cubicBezTo>
                    <a:pt x="728879" y="251748"/>
                    <a:pt x="730812" y="260140"/>
                    <a:pt x="730812" y="280151"/>
                  </a:cubicBezTo>
                  <a:lnTo>
                    <a:pt x="730812" y="456375"/>
                  </a:lnTo>
                  <a:lnTo>
                    <a:pt x="781080" y="456375"/>
                  </a:lnTo>
                  <a:lnTo>
                    <a:pt x="781080" y="257558"/>
                  </a:lnTo>
                  <a:cubicBezTo>
                    <a:pt x="781080" y="240129"/>
                    <a:pt x="779146" y="222701"/>
                    <a:pt x="768835" y="209790"/>
                  </a:cubicBezTo>
                  <a:cubicBezTo>
                    <a:pt x="759813" y="198171"/>
                    <a:pt x="745635" y="191071"/>
                    <a:pt x="727590" y="191071"/>
                  </a:cubicBezTo>
                  <a:cubicBezTo>
                    <a:pt x="705034" y="191071"/>
                    <a:pt x="681189" y="204626"/>
                    <a:pt x="668300" y="220119"/>
                  </a:cubicBezTo>
                  <a:close/>
                  <a:moveTo>
                    <a:pt x="53490" y="107154"/>
                  </a:moveTo>
                  <a:cubicBezTo>
                    <a:pt x="83135" y="107154"/>
                    <a:pt x="106980" y="83271"/>
                    <a:pt x="106980" y="53577"/>
                  </a:cubicBezTo>
                  <a:cubicBezTo>
                    <a:pt x="106980" y="23884"/>
                    <a:pt x="83135" y="0"/>
                    <a:pt x="53490" y="0"/>
                  </a:cubicBezTo>
                  <a:cubicBezTo>
                    <a:pt x="23845" y="0"/>
                    <a:pt x="0" y="23884"/>
                    <a:pt x="0" y="53577"/>
                  </a:cubicBezTo>
                  <a:cubicBezTo>
                    <a:pt x="0" y="83271"/>
                    <a:pt x="23845" y="107154"/>
                    <a:pt x="53490" y="107154"/>
                  </a:cubicBezTo>
                  <a:close/>
                  <a:moveTo>
                    <a:pt x="300316" y="457020"/>
                  </a:moveTo>
                  <a:lnTo>
                    <a:pt x="300316" y="257558"/>
                  </a:lnTo>
                  <a:cubicBezTo>
                    <a:pt x="300316" y="240129"/>
                    <a:pt x="298383" y="222701"/>
                    <a:pt x="288072" y="209790"/>
                  </a:cubicBezTo>
                  <a:cubicBezTo>
                    <a:pt x="279049" y="198171"/>
                    <a:pt x="264871" y="191071"/>
                    <a:pt x="246826" y="191071"/>
                  </a:cubicBezTo>
                  <a:cubicBezTo>
                    <a:pt x="223626" y="191071"/>
                    <a:pt x="199781" y="204626"/>
                    <a:pt x="186892" y="220119"/>
                  </a:cubicBezTo>
                  <a:cubicBezTo>
                    <a:pt x="186248" y="206563"/>
                    <a:pt x="181736" y="193653"/>
                    <a:pt x="180447" y="189134"/>
                  </a:cubicBezTo>
                  <a:lnTo>
                    <a:pt x="134047" y="202044"/>
                  </a:lnTo>
                  <a:cubicBezTo>
                    <a:pt x="136625" y="216245"/>
                    <a:pt x="140491" y="233674"/>
                    <a:pt x="140491" y="265304"/>
                  </a:cubicBezTo>
                  <a:lnTo>
                    <a:pt x="140491" y="457020"/>
                  </a:lnTo>
                  <a:lnTo>
                    <a:pt x="190759" y="457020"/>
                  </a:lnTo>
                  <a:lnTo>
                    <a:pt x="190759" y="263368"/>
                  </a:lnTo>
                  <a:cubicBezTo>
                    <a:pt x="203003" y="248521"/>
                    <a:pt x="217181" y="240129"/>
                    <a:pt x="227493" y="240129"/>
                  </a:cubicBezTo>
                  <a:cubicBezTo>
                    <a:pt x="233937" y="240129"/>
                    <a:pt x="240382" y="241420"/>
                    <a:pt x="244249" y="246584"/>
                  </a:cubicBezTo>
                  <a:cubicBezTo>
                    <a:pt x="248115" y="252394"/>
                    <a:pt x="250049" y="260786"/>
                    <a:pt x="250049" y="280796"/>
                  </a:cubicBezTo>
                  <a:lnTo>
                    <a:pt x="250049" y="457020"/>
                  </a:lnTo>
                  <a:lnTo>
                    <a:pt x="300316" y="457020"/>
                  </a:lnTo>
                  <a:close/>
                  <a:moveTo>
                    <a:pt x="531676" y="92953"/>
                  </a:moveTo>
                  <a:cubicBezTo>
                    <a:pt x="512986" y="92953"/>
                    <a:pt x="498164" y="107800"/>
                    <a:pt x="498164" y="126520"/>
                  </a:cubicBezTo>
                  <a:cubicBezTo>
                    <a:pt x="498164" y="145240"/>
                    <a:pt x="512986" y="160086"/>
                    <a:pt x="531031" y="160086"/>
                  </a:cubicBezTo>
                  <a:cubicBezTo>
                    <a:pt x="549720" y="160086"/>
                    <a:pt x="564543" y="145240"/>
                    <a:pt x="564543" y="126520"/>
                  </a:cubicBezTo>
                  <a:cubicBezTo>
                    <a:pt x="564543" y="107800"/>
                    <a:pt x="549720" y="92953"/>
                    <a:pt x="531676" y="92953"/>
                  </a:cubicBezTo>
                  <a:close/>
                  <a:moveTo>
                    <a:pt x="29645" y="457020"/>
                  </a:moveTo>
                  <a:lnTo>
                    <a:pt x="79912" y="457020"/>
                  </a:lnTo>
                  <a:lnTo>
                    <a:pt x="79912" y="142657"/>
                  </a:lnTo>
                  <a:lnTo>
                    <a:pt x="29645" y="149113"/>
                  </a:lnTo>
                  <a:lnTo>
                    <a:pt x="29645" y="457020"/>
                  </a:lnTo>
                  <a:close/>
                  <a:moveTo>
                    <a:pt x="440163" y="123938"/>
                  </a:moveTo>
                  <a:cubicBezTo>
                    <a:pt x="449185" y="123938"/>
                    <a:pt x="458208" y="127165"/>
                    <a:pt x="464008" y="131684"/>
                  </a:cubicBezTo>
                  <a:lnTo>
                    <a:pt x="478186" y="92308"/>
                  </a:lnTo>
                  <a:cubicBezTo>
                    <a:pt x="464652" y="82625"/>
                    <a:pt x="449830" y="78107"/>
                    <a:pt x="431141" y="78107"/>
                  </a:cubicBezTo>
                  <a:cubicBezTo>
                    <a:pt x="418252" y="78107"/>
                    <a:pt x="404718" y="81334"/>
                    <a:pt x="392473" y="91017"/>
                  </a:cubicBezTo>
                  <a:cubicBezTo>
                    <a:pt x="380229" y="101345"/>
                    <a:pt x="367340" y="122001"/>
                    <a:pt x="367340" y="160732"/>
                  </a:cubicBezTo>
                  <a:cubicBezTo>
                    <a:pt x="367340" y="177515"/>
                    <a:pt x="367984" y="194944"/>
                    <a:pt x="367984" y="194944"/>
                  </a:cubicBezTo>
                  <a:lnTo>
                    <a:pt x="350584" y="194944"/>
                  </a:lnTo>
                  <a:lnTo>
                    <a:pt x="350584" y="239484"/>
                  </a:lnTo>
                  <a:lnTo>
                    <a:pt x="367984" y="239484"/>
                  </a:lnTo>
                  <a:lnTo>
                    <a:pt x="367984" y="456375"/>
                  </a:lnTo>
                  <a:lnTo>
                    <a:pt x="419540" y="456375"/>
                  </a:lnTo>
                  <a:lnTo>
                    <a:pt x="419540" y="240129"/>
                  </a:lnTo>
                  <a:lnTo>
                    <a:pt x="457563" y="240129"/>
                  </a:lnTo>
                  <a:lnTo>
                    <a:pt x="467230" y="195589"/>
                  </a:lnTo>
                  <a:lnTo>
                    <a:pt x="420185" y="195589"/>
                  </a:lnTo>
                  <a:lnTo>
                    <a:pt x="420185" y="155568"/>
                  </a:lnTo>
                  <a:cubicBezTo>
                    <a:pt x="420185" y="136202"/>
                    <a:pt x="427918" y="123938"/>
                    <a:pt x="440163" y="123938"/>
                  </a:cubicBezTo>
                  <a:close/>
                  <a:moveTo>
                    <a:pt x="505897" y="457020"/>
                  </a:moveTo>
                  <a:lnTo>
                    <a:pt x="556809" y="457020"/>
                  </a:lnTo>
                  <a:lnTo>
                    <a:pt x="556809" y="191071"/>
                  </a:lnTo>
                  <a:lnTo>
                    <a:pt x="505897" y="197526"/>
                  </a:lnTo>
                  <a:lnTo>
                    <a:pt x="505897" y="457020"/>
                  </a:lnTo>
                  <a:close/>
                </a:path>
              </a:pathLst>
            </a:custGeom>
            <a:solidFill>
              <a:srgbClr val="005DA9"/>
            </a:solidFill>
            <a:ln w="6439" cap="flat">
              <a:noFill/>
              <a:prstDash val="solid"/>
              <a:miter/>
            </a:ln>
          </p:spPr>
          <p:txBody>
            <a:bodyPr rtlCol="0" anchor="ctr"/>
            <a:lstStyle/>
            <a:p>
              <a:endParaRPr lang="en-US" baseline="0" noProof="0">
                <a:latin typeface="+mn-lt"/>
                <a:ea typeface="+mn-ea"/>
                <a:cs typeface="+mn-cs"/>
              </a:endParaRPr>
            </a:p>
          </p:txBody>
        </p:sp>
        <p:sp>
          <p:nvSpPr>
            <p:cNvPr id="14" name="Freeform: Shape 13">
              <a:extLst>
                <a:ext uri="{FF2B5EF4-FFF2-40B4-BE49-F238E27FC236}">
                  <a16:creationId xmlns:a16="http://schemas.microsoft.com/office/drawing/2014/main" id="{CA824C84-95A2-4E55-BBD1-9A8DDECAB2F7}"/>
                </a:ext>
              </a:extLst>
            </p:cNvPr>
            <p:cNvSpPr/>
            <p:nvPr/>
          </p:nvSpPr>
          <p:spPr>
            <a:xfrm>
              <a:off x="9738355" y="5453433"/>
              <a:ext cx="1826386" cy="800518"/>
            </a:xfrm>
            <a:custGeom>
              <a:avLst/>
              <a:gdLst>
                <a:gd name="connsiteX0" fmla="*/ 1549915 w 1826386"/>
                <a:gd name="connsiteY0" fmla="*/ 674411 h 800518"/>
                <a:gd name="connsiteX1" fmla="*/ 970550 w 1826386"/>
                <a:gd name="connsiteY1" fmla="*/ 746708 h 800518"/>
                <a:gd name="connsiteX2" fmla="*/ 102468 w 1826386"/>
                <a:gd name="connsiteY2" fmla="*/ 396197 h 800518"/>
                <a:gd name="connsiteX3" fmla="*/ 250693 w 1826386"/>
                <a:gd name="connsiteY3" fmla="*/ 186406 h 800518"/>
                <a:gd name="connsiteX4" fmla="*/ 221693 w 1826386"/>
                <a:gd name="connsiteY4" fmla="*/ 129602 h 800518"/>
                <a:gd name="connsiteX5" fmla="*/ 0 w 1826386"/>
                <a:gd name="connsiteY5" fmla="*/ 402006 h 800518"/>
                <a:gd name="connsiteX6" fmla="*/ 975705 w 1826386"/>
                <a:gd name="connsiteY6" fmla="*/ 800285 h 800518"/>
                <a:gd name="connsiteX7" fmla="*/ 1501581 w 1826386"/>
                <a:gd name="connsiteY7" fmla="*/ 718306 h 800518"/>
                <a:gd name="connsiteX8" fmla="*/ 1826386 w 1826386"/>
                <a:gd name="connsiteY8" fmla="*/ 536272 h 800518"/>
                <a:gd name="connsiteX9" fmla="*/ 1549915 w 1826386"/>
                <a:gd name="connsiteY9" fmla="*/ 674411 h 800518"/>
                <a:gd name="connsiteX10" fmla="*/ 467875 w 1826386"/>
                <a:gd name="connsiteY10" fmla="*/ 88289 h 800518"/>
                <a:gd name="connsiteX11" fmla="*/ 550365 w 1826386"/>
                <a:gd name="connsiteY11" fmla="*/ 61823 h 800518"/>
                <a:gd name="connsiteX12" fmla="*/ 976350 w 1826386"/>
                <a:gd name="connsiteY12" fmla="*/ 3727 h 800518"/>
                <a:gd name="connsiteX13" fmla="*/ 540054 w 1826386"/>
                <a:gd name="connsiteY13" fmla="*/ 26966 h 800518"/>
                <a:gd name="connsiteX14" fmla="*/ 451763 w 1826386"/>
                <a:gd name="connsiteY14" fmla="*/ 45685 h 800518"/>
                <a:gd name="connsiteX15" fmla="*/ 416318 w 1826386"/>
                <a:gd name="connsiteY15" fmla="*/ 55368 h 800518"/>
                <a:gd name="connsiteX16" fmla="*/ 384095 w 1826386"/>
                <a:gd name="connsiteY16" fmla="*/ 64405 h 800518"/>
                <a:gd name="connsiteX17" fmla="*/ 345428 w 1826386"/>
                <a:gd name="connsiteY17" fmla="*/ 77315 h 800518"/>
                <a:gd name="connsiteX18" fmla="*/ 366695 w 1826386"/>
                <a:gd name="connsiteY18" fmla="*/ 126374 h 800518"/>
                <a:gd name="connsiteX19" fmla="*/ 467875 w 1826386"/>
                <a:gd name="connsiteY19" fmla="*/ 88289 h 80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6386" h="800518">
                  <a:moveTo>
                    <a:pt x="1549915" y="674411"/>
                  </a:moveTo>
                  <a:cubicBezTo>
                    <a:pt x="1379779" y="724761"/>
                    <a:pt x="1172909" y="746708"/>
                    <a:pt x="970550" y="746708"/>
                  </a:cubicBezTo>
                  <a:cubicBezTo>
                    <a:pt x="456919" y="746708"/>
                    <a:pt x="125669" y="595659"/>
                    <a:pt x="102468" y="396197"/>
                  </a:cubicBezTo>
                  <a:cubicBezTo>
                    <a:pt x="94090" y="321318"/>
                    <a:pt x="152736" y="248375"/>
                    <a:pt x="250693" y="186406"/>
                  </a:cubicBezTo>
                  <a:cubicBezTo>
                    <a:pt x="233293" y="173496"/>
                    <a:pt x="222337" y="152840"/>
                    <a:pt x="221693" y="129602"/>
                  </a:cubicBezTo>
                  <a:cubicBezTo>
                    <a:pt x="79912" y="204481"/>
                    <a:pt x="0" y="302598"/>
                    <a:pt x="0" y="402006"/>
                  </a:cubicBezTo>
                  <a:cubicBezTo>
                    <a:pt x="0" y="622125"/>
                    <a:pt x="392473" y="808031"/>
                    <a:pt x="975705" y="800285"/>
                  </a:cubicBezTo>
                  <a:cubicBezTo>
                    <a:pt x="1178709" y="797703"/>
                    <a:pt x="1348200" y="768655"/>
                    <a:pt x="1501581" y="718306"/>
                  </a:cubicBezTo>
                  <a:cubicBezTo>
                    <a:pt x="1683962" y="658919"/>
                    <a:pt x="1798675" y="573712"/>
                    <a:pt x="1826386" y="536272"/>
                  </a:cubicBezTo>
                  <a:cubicBezTo>
                    <a:pt x="1793519" y="565966"/>
                    <a:pt x="1715540" y="625352"/>
                    <a:pt x="1549915" y="674411"/>
                  </a:cubicBezTo>
                  <a:close/>
                  <a:moveTo>
                    <a:pt x="467875" y="88289"/>
                  </a:moveTo>
                  <a:cubicBezTo>
                    <a:pt x="502031" y="76670"/>
                    <a:pt x="550365" y="61823"/>
                    <a:pt x="550365" y="61823"/>
                  </a:cubicBezTo>
                  <a:cubicBezTo>
                    <a:pt x="686345" y="24384"/>
                    <a:pt x="836503" y="2436"/>
                    <a:pt x="976350" y="3727"/>
                  </a:cubicBezTo>
                  <a:cubicBezTo>
                    <a:pt x="815236" y="-5955"/>
                    <a:pt x="668300" y="3727"/>
                    <a:pt x="540054" y="26966"/>
                  </a:cubicBezTo>
                  <a:cubicBezTo>
                    <a:pt x="540054" y="26966"/>
                    <a:pt x="497519" y="34066"/>
                    <a:pt x="451763" y="45685"/>
                  </a:cubicBezTo>
                  <a:cubicBezTo>
                    <a:pt x="451763" y="45685"/>
                    <a:pt x="429852" y="51495"/>
                    <a:pt x="416318" y="55368"/>
                  </a:cubicBezTo>
                  <a:cubicBezTo>
                    <a:pt x="402785" y="59241"/>
                    <a:pt x="384095" y="64405"/>
                    <a:pt x="384095" y="64405"/>
                  </a:cubicBezTo>
                  <a:cubicBezTo>
                    <a:pt x="371206" y="68278"/>
                    <a:pt x="358317" y="72797"/>
                    <a:pt x="345428" y="77315"/>
                  </a:cubicBezTo>
                  <a:cubicBezTo>
                    <a:pt x="358317" y="90225"/>
                    <a:pt x="366051" y="107009"/>
                    <a:pt x="366695" y="126374"/>
                  </a:cubicBezTo>
                  <a:cubicBezTo>
                    <a:pt x="389251" y="116046"/>
                    <a:pt x="432429" y="100554"/>
                    <a:pt x="467875" y="88289"/>
                  </a:cubicBezTo>
                  <a:close/>
                </a:path>
              </a:pathLst>
            </a:custGeom>
            <a:solidFill>
              <a:srgbClr val="E30034"/>
            </a:solidFill>
            <a:ln w="6439" cap="flat">
              <a:noFill/>
              <a:prstDash val="solid"/>
              <a:miter/>
            </a:ln>
          </p:spPr>
          <p:txBody>
            <a:bodyPr rtlCol="0" anchor="ctr"/>
            <a:lstStyle/>
            <a:p>
              <a:endParaRPr lang="en-US" baseline="0" noProof="0">
                <a:latin typeface="+mn-lt"/>
                <a:ea typeface="+mn-ea"/>
                <a:cs typeface="+mn-cs"/>
              </a:endParaRPr>
            </a:p>
          </p:txBody>
        </p:sp>
      </p:grpSp>
      <p:sp>
        <p:nvSpPr>
          <p:cNvPr id="11" name="MIO_AGENDA_IGNORE_NAVIGATION" hidden="1">
            <a:extLst>
              <a:ext uri="{FF2B5EF4-FFF2-40B4-BE49-F238E27FC236}">
                <a16:creationId xmlns:a16="http://schemas.microsoft.com/office/drawing/2014/main" id="{73923FBC-8302-46A2-AAEF-9F2F1FFC31B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B9EE8F10-F396-4FB2-BAE1-D8AE2940E4D3}"/>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657128248"/>
      </p:ext>
    </p:extLst>
  </p:cSld>
  <p:clrMapOvr>
    <a:masterClrMapping/>
  </p:clrMapOvr>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IFX_Title_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rgbClr val="928285"/>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 DRAFT -</a:t>
            </a: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rgbClr val="928285"/>
                </a:solidFill>
                <a:latin typeface="+mn-lt"/>
                <a:ea typeface="+mn-ea"/>
                <a:cs typeface="+mn-cs"/>
              </a:rPr>
              <a:t>Copyright © Infineon Technologies AG 2021.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928285"/>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rgbClr val="928285"/>
                </a:solidFill>
                <a:latin typeface="+mn-lt"/>
                <a:ea typeface="+mn-ea"/>
                <a:cs typeface="+mn-cs"/>
              </a:rPr>
              <a:t>2021-02-08</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Datumsplatzhalter 2">
            <a:extLst>
              <a:ext uri="{FF2B5EF4-FFF2-40B4-BE49-F238E27FC236}">
                <a16:creationId xmlns:a16="http://schemas.microsoft.com/office/drawing/2014/main" id="{FF5AEDC8-394A-48F9-918E-9A1B90517514}"/>
              </a:ext>
            </a:extLst>
          </p:cNvPr>
          <p:cNvSpPr>
            <a:spLocks noGrp="1"/>
          </p:cNvSpPr>
          <p:nvPr>
            <p:ph type="dt" sz="half" idx="10"/>
            <p:custDataLst>
              <p:tags r:id="rId10"/>
            </p:custDataLst>
          </p:nvPr>
        </p:nvSpPr>
        <p:spPr/>
        <p:txBody>
          <a:bodyPr/>
          <a:lstStyle>
            <a:lvl1pPr>
              <a:defRPr baseline="0">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F3ADE613-F889-4266-891F-520F86E2405A}"/>
              </a:ext>
            </a:extLst>
          </p:cNvPr>
          <p:cNvSpPr>
            <a:spLocks noGrp="1"/>
          </p:cNvSpPr>
          <p:nvPr>
            <p:ph type="ftr" sz="quarter" idx="11"/>
            <p:custDataLst>
              <p:tags r:id="rId11"/>
            </p:custDataLst>
          </p:nvPr>
        </p:nvSpPr>
        <p:spPr/>
        <p:txBody>
          <a:bodyPr/>
          <a:lstStyle>
            <a:lvl1pPr>
              <a:defRPr baseline="0">
                <a:latin typeface="+mn-lt"/>
                <a:ea typeface="+mn-ea"/>
                <a:cs typeface="+mn-cs"/>
              </a:defRPr>
            </a:lvl1pPr>
          </a:lstStyle>
          <a:p>
            <a:endParaRPr lang="en-US" dirty="0"/>
          </a:p>
        </p:txBody>
      </p:sp>
      <p:sp>
        <p:nvSpPr>
          <p:cNvPr id="5" name="Foliennummernplatzhalter 4">
            <a:extLst>
              <a:ext uri="{FF2B5EF4-FFF2-40B4-BE49-F238E27FC236}">
                <a16:creationId xmlns:a16="http://schemas.microsoft.com/office/drawing/2014/main" id="{EF693540-05A2-44D7-93ED-F090C6F6000B}"/>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Tree>
    <p:extLst>
      <p:ext uri="{BB962C8B-B14F-4D97-AF65-F5344CB8AC3E}">
        <p14:creationId xmlns:p14="http://schemas.microsoft.com/office/powerpoint/2010/main" val="3237219958"/>
      </p:ext>
    </p:extLst>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IFX_Title_and_Conten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5CB7D75-91DF-4F48-92EB-5903563173A0}"/>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BE6A1EDE-3987-4114-A326-42E47A0462FC}"/>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3"/>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5"/>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6"/>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7"/>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8"/>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10"/>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liennummernplatzhalter 4">
            <a:extLst>
              <a:ext uri="{FF2B5EF4-FFF2-40B4-BE49-F238E27FC236}">
                <a16:creationId xmlns:a16="http://schemas.microsoft.com/office/drawing/2014/main" id="{F33DA9B3-5286-400C-9D4C-192FF14D53A1}"/>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2973588277"/>
      </p:ext>
    </p:extLst>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FX_Agenda">
    <p:spTree>
      <p:nvGrpSpPr>
        <p:cNvPr id="1" name=""/>
        <p:cNvGrpSpPr/>
        <p:nvPr/>
      </p:nvGrpSpPr>
      <p:grpSpPr>
        <a:xfrm>
          <a:off x="0" y="0"/>
          <a:ext cx="0" cy="0"/>
          <a:chOff x="0" y="0"/>
          <a:chExt cx="0" cy="0"/>
        </a:xfrm>
      </p:grpSpPr>
      <p:sp>
        <p:nvSpPr>
          <p:cNvPr id="7" name="empower_document_placeholder" hidden="1">
            <a:extLst>
              <a:ext uri="{FF2B5EF4-FFF2-40B4-BE49-F238E27FC236}">
                <a16:creationId xmlns:a16="http://schemas.microsoft.com/office/drawing/2014/main" id="{FFF0FC12-D2C8-4BAD-95E2-CE9BB9B049B0}"/>
              </a:ext>
            </a:extLst>
          </p:cNvPr>
          <p:cNvSpPr txBox="1"/>
          <p:nvPr>
            <p:custDataLst>
              <p:tags r:id="rId1"/>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rgbClr val="928285"/>
                </a:solidFill>
                <a:latin typeface="+mn-lt"/>
                <a:ea typeface="+mn-ea"/>
                <a:cs typeface="+mn-cs"/>
              </a:rPr>
              <a:t>[Owner:   Doc ID:   Vers.: ]</a:t>
            </a:r>
          </a:p>
        </p:txBody>
      </p:sp>
      <p:sp>
        <p:nvSpPr>
          <p:cNvPr id="9" name="empower_proprietary_placeholder" hidden="1">
            <a:extLst>
              <a:ext uri="{FF2B5EF4-FFF2-40B4-BE49-F238E27FC236}">
                <a16:creationId xmlns:a16="http://schemas.microsoft.com/office/drawing/2014/main" id="{0BDDFA46-F5B0-4BB6-87E6-3417954792B2}"/>
              </a:ext>
            </a:extLst>
          </p:cNvPr>
          <p:cNvSpPr txBox="1"/>
          <p:nvPr>
            <p:custDataLst>
              <p:tags r:id="rId2"/>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Infineon Proprietary</a:t>
            </a:r>
          </a:p>
        </p:txBody>
      </p:sp>
      <p:sp>
        <p:nvSpPr>
          <p:cNvPr id="17" name="empower_additionalText_placeholder" hidden="1">
            <a:extLst>
              <a:ext uri="{FF2B5EF4-FFF2-40B4-BE49-F238E27FC236}">
                <a16:creationId xmlns:a16="http://schemas.microsoft.com/office/drawing/2014/main" id="{5769E316-91CB-4D6E-B73F-31C3CCEAAFEB}"/>
              </a:ext>
            </a:extLst>
          </p:cNvPr>
          <p:cNvSpPr txBox="1"/>
          <p:nvPr>
            <p:custDataLst>
              <p:tags r:id="rId3"/>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latin typeface="+mn-lt"/>
              <a:ea typeface="+mn-ea"/>
              <a:cs typeface="+mn-cs"/>
            </a:endParaRPr>
          </a:p>
        </p:txBody>
      </p:sp>
      <p:sp>
        <p:nvSpPr>
          <p:cNvPr id="10" name="empower_draft_placeholder" hidden="1">
            <a:extLst>
              <a:ext uri="{FF2B5EF4-FFF2-40B4-BE49-F238E27FC236}">
                <a16:creationId xmlns:a16="http://schemas.microsoft.com/office/drawing/2014/main" id="{EB5D3F4D-E18D-43D6-BC78-7B42138EAE8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 DRAFT -</a:t>
            </a:r>
          </a:p>
        </p:txBody>
      </p:sp>
      <p:sp>
        <p:nvSpPr>
          <p:cNvPr id="11" name="empower_footer_placeholder">
            <a:extLst>
              <a:ext uri="{FF2B5EF4-FFF2-40B4-BE49-F238E27FC236}">
                <a16:creationId xmlns:a16="http://schemas.microsoft.com/office/drawing/2014/main" id="{2828881E-C881-4A10-9684-6DDF4156ECCD}"/>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rgbClr val="928285"/>
                </a:solidFill>
                <a:latin typeface="+mn-lt"/>
                <a:ea typeface="+mn-ea"/>
                <a:cs typeface="+mn-cs"/>
              </a:rPr>
              <a:t>Copyright © Infineon Technologies AG 2021. All rights reserved.</a:t>
            </a:r>
          </a:p>
        </p:txBody>
      </p:sp>
      <p:sp>
        <p:nvSpPr>
          <p:cNvPr id="12" name="empower_classification_attention_placeholder" hidden="1">
            <a:extLst>
              <a:ext uri="{FF2B5EF4-FFF2-40B4-BE49-F238E27FC236}">
                <a16:creationId xmlns:a16="http://schemas.microsoft.com/office/drawing/2014/main" id="{DB33BF1D-F784-46C4-9C51-BC117FD6E082}"/>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E30034"/>
                </a:solidFill>
                <a:latin typeface="+mn-lt"/>
                <a:ea typeface="+mn-ea"/>
                <a:cs typeface="+mn-cs"/>
              </a:rPr>
              <a:t>Restricted</a:t>
            </a:r>
          </a:p>
        </p:txBody>
      </p:sp>
      <p:sp>
        <p:nvSpPr>
          <p:cNvPr id="13" name="empower_classification_placeholder">
            <a:extLst>
              <a:ext uri="{FF2B5EF4-FFF2-40B4-BE49-F238E27FC236}">
                <a16:creationId xmlns:a16="http://schemas.microsoft.com/office/drawing/2014/main" id="{96A62A3F-8D88-4727-B106-3B0FFAC6898D}"/>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rgbClr val="928285"/>
                </a:solidFill>
                <a:latin typeface="+mn-lt"/>
                <a:ea typeface="+mn-ea"/>
                <a:cs typeface="+mn-cs"/>
              </a:rPr>
              <a:t>restricted</a:t>
            </a:r>
          </a:p>
        </p:txBody>
      </p:sp>
      <p:sp>
        <p:nvSpPr>
          <p:cNvPr id="14" name="empower_date_placeholder">
            <a:extLst>
              <a:ext uri="{FF2B5EF4-FFF2-40B4-BE49-F238E27FC236}">
                <a16:creationId xmlns:a16="http://schemas.microsoft.com/office/drawing/2014/main" id="{0D4C3B03-A49F-481B-9F5A-D907E4D8C35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rgbClr val="928285"/>
                </a:solidFill>
                <a:latin typeface="+mn-lt"/>
                <a:ea typeface="+mn-ea"/>
                <a:cs typeface="+mn-cs"/>
              </a:rPr>
              <a:t>2021-02-08</a:t>
            </a:r>
          </a:p>
        </p:txBody>
      </p:sp>
      <p:sp>
        <p:nvSpPr>
          <p:cNvPr id="38" name="Topic 1"/>
          <p:cNvSpPr>
            <a:spLocks noGrp="1"/>
          </p:cNvSpPr>
          <p:nvPr>
            <p:ph type="body" idx="17" hasCustomPrompt="1"/>
          </p:nvPr>
        </p:nvSpPr>
        <p:spPr>
          <a:xfrm>
            <a:off x="1235075" y="1268412"/>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39" name="Topic 2"/>
          <p:cNvSpPr>
            <a:spLocks noGrp="1"/>
          </p:cNvSpPr>
          <p:nvPr>
            <p:ph type="body" sz="quarter" idx="18" hasCustomPrompt="1"/>
          </p:nvPr>
        </p:nvSpPr>
        <p:spPr>
          <a:xfrm>
            <a:off x="1235075" y="1916493"/>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0" name="Topic 3"/>
          <p:cNvSpPr>
            <a:spLocks noGrp="1"/>
          </p:cNvSpPr>
          <p:nvPr>
            <p:ph type="body" sz="quarter" idx="19" hasCustomPrompt="1"/>
          </p:nvPr>
        </p:nvSpPr>
        <p:spPr>
          <a:xfrm>
            <a:off x="1235075" y="2564575"/>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1" name="Topic 4"/>
          <p:cNvSpPr>
            <a:spLocks noGrp="1"/>
          </p:cNvSpPr>
          <p:nvPr>
            <p:ph type="body" sz="quarter" idx="20" hasCustomPrompt="1"/>
          </p:nvPr>
        </p:nvSpPr>
        <p:spPr>
          <a:xfrm>
            <a:off x="1235075" y="3212655"/>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2" name="Topic 5"/>
          <p:cNvSpPr>
            <a:spLocks noGrp="1"/>
          </p:cNvSpPr>
          <p:nvPr>
            <p:ph type="body" sz="quarter" idx="21" hasCustomPrompt="1"/>
          </p:nvPr>
        </p:nvSpPr>
        <p:spPr>
          <a:xfrm>
            <a:off x="1235075" y="3860736"/>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3" name="Topic 6"/>
          <p:cNvSpPr>
            <a:spLocks noGrp="1"/>
          </p:cNvSpPr>
          <p:nvPr>
            <p:ph type="body" sz="quarter" idx="22" hasCustomPrompt="1"/>
          </p:nvPr>
        </p:nvSpPr>
        <p:spPr>
          <a:xfrm>
            <a:off x="1235075" y="4508817"/>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4" name="Topic 7"/>
          <p:cNvSpPr>
            <a:spLocks noGrp="1"/>
          </p:cNvSpPr>
          <p:nvPr>
            <p:ph type="body" sz="quarter" idx="23" hasCustomPrompt="1"/>
          </p:nvPr>
        </p:nvSpPr>
        <p:spPr>
          <a:xfrm>
            <a:off x="1235075" y="5156899"/>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5" name="Topic 8"/>
          <p:cNvSpPr>
            <a:spLocks noGrp="1"/>
          </p:cNvSpPr>
          <p:nvPr>
            <p:ph type="body" sz="quarter" idx="24" hasCustomPrompt="1"/>
          </p:nvPr>
        </p:nvSpPr>
        <p:spPr>
          <a:xfrm>
            <a:off x="1235075" y="5804979"/>
            <a:ext cx="10620000" cy="576072"/>
          </a:xfrm>
          <a:prstGeom prst="rect">
            <a:avLst/>
          </a:prstGeom>
          <a:noFill/>
        </p:spPr>
        <p:txBody>
          <a:bodyPr wrap="square" lIns="0" anchor="ctr">
            <a:noAutofit/>
          </a:bodyPr>
          <a:lstStyle>
            <a:lvl1pPr marL="0" indent="0" fontAlgn="auto">
              <a:buNone/>
              <a:defRPr sz="2000" baseline="0">
                <a:latin typeface="+mn-lt"/>
                <a:ea typeface="+mn-ea"/>
                <a:cs typeface="+mn-cs"/>
              </a:defRPr>
            </a:lvl1pPr>
            <a:lvl2pPr fontAlgn="auto">
              <a:defRPr/>
            </a:lvl2pPr>
            <a:lvl3pPr fontAlgn="auto">
              <a:defRPr/>
            </a:lvl3pPr>
            <a:lvl4pPr fontAlgn="auto">
              <a:defRPr/>
            </a:lvl4pPr>
            <a:lvl5pPr fontAlgn="auto">
              <a:defRPr/>
            </a:lvl5pPr>
          </a:lstStyle>
          <a:p>
            <a:pPr lvl="0"/>
            <a:r>
              <a:rPr lang="en-US" noProof="0"/>
              <a:t>Click to edit text</a:t>
            </a:r>
          </a:p>
        </p:txBody>
      </p:sp>
      <p:sp>
        <p:nvSpPr>
          <p:cNvPr id="46" name="No 1"/>
          <p:cNvSpPr>
            <a:spLocks noGrp="1"/>
          </p:cNvSpPr>
          <p:nvPr>
            <p:ph type="body" idx="28" hasCustomPrompt="1"/>
          </p:nvPr>
        </p:nvSpPr>
        <p:spPr>
          <a:xfrm>
            <a:off x="334433" y="1268412"/>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47" name="No 2"/>
          <p:cNvSpPr>
            <a:spLocks noGrp="1"/>
          </p:cNvSpPr>
          <p:nvPr>
            <p:ph type="body" idx="29" hasCustomPrompt="1"/>
          </p:nvPr>
        </p:nvSpPr>
        <p:spPr>
          <a:xfrm>
            <a:off x="334433" y="1916593"/>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48" name="No 3"/>
          <p:cNvSpPr>
            <a:spLocks noGrp="1"/>
          </p:cNvSpPr>
          <p:nvPr>
            <p:ph type="body" idx="30" hasCustomPrompt="1"/>
          </p:nvPr>
        </p:nvSpPr>
        <p:spPr>
          <a:xfrm>
            <a:off x="334433" y="2564775"/>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49" name="No 4"/>
          <p:cNvSpPr>
            <a:spLocks noGrp="1"/>
          </p:cNvSpPr>
          <p:nvPr>
            <p:ph type="body" idx="31" hasCustomPrompt="1"/>
          </p:nvPr>
        </p:nvSpPr>
        <p:spPr>
          <a:xfrm>
            <a:off x="334433" y="3212955"/>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0" name="No 5"/>
          <p:cNvSpPr>
            <a:spLocks noGrp="1"/>
          </p:cNvSpPr>
          <p:nvPr>
            <p:ph type="body" idx="32" hasCustomPrompt="1"/>
          </p:nvPr>
        </p:nvSpPr>
        <p:spPr>
          <a:xfrm>
            <a:off x="334433" y="3861136"/>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1" name="No 6"/>
          <p:cNvSpPr>
            <a:spLocks noGrp="1"/>
          </p:cNvSpPr>
          <p:nvPr>
            <p:ph type="body" idx="33" hasCustomPrompt="1"/>
          </p:nvPr>
        </p:nvSpPr>
        <p:spPr>
          <a:xfrm>
            <a:off x="334433" y="4509317"/>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2" name="No 7"/>
          <p:cNvSpPr>
            <a:spLocks noGrp="1"/>
          </p:cNvSpPr>
          <p:nvPr>
            <p:ph type="body" idx="34" hasCustomPrompt="1"/>
          </p:nvPr>
        </p:nvSpPr>
        <p:spPr>
          <a:xfrm>
            <a:off x="334433" y="5157499"/>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53" name="No 8"/>
          <p:cNvSpPr>
            <a:spLocks noGrp="1"/>
          </p:cNvSpPr>
          <p:nvPr>
            <p:ph type="body" idx="35" hasCustomPrompt="1"/>
          </p:nvPr>
        </p:nvSpPr>
        <p:spPr>
          <a:xfrm>
            <a:off x="334433" y="5805679"/>
            <a:ext cx="576000" cy="576072"/>
          </a:xfrm>
          <a:prstGeom prst="ellipse">
            <a:avLst/>
          </a:prstGeom>
          <a:solidFill>
            <a:schemeClr val="accent4"/>
          </a:solidFill>
        </p:spPr>
        <p:txBody>
          <a:bodyPr wrap="square" lIns="0" anchor="ctr">
            <a:noAutofit/>
          </a:bodyPr>
          <a:lstStyle>
            <a:lvl1pPr marL="0" indent="0" algn="ctr" fontAlgn="auto">
              <a:buNone/>
              <a:defRPr sz="2000" baseline="0">
                <a:solidFill>
                  <a:schemeClr val="bg1"/>
                </a:solidFill>
                <a:latin typeface="+mn-lt"/>
                <a:ea typeface="+mn-ea"/>
                <a:cs typeface="+mn-cs"/>
              </a:defRPr>
            </a:lvl1pPr>
            <a:lvl2pPr fontAlgn="auto">
              <a:defRPr/>
            </a:lvl2pPr>
            <a:lvl3pPr fontAlgn="auto">
              <a:defRPr/>
            </a:lvl3pPr>
            <a:lvl4pPr fontAlgn="auto">
              <a:defRPr/>
            </a:lvl4pPr>
            <a:lvl5pPr fontAlgn="auto">
              <a:defRPr/>
            </a:lvl5pPr>
          </a:lstStyle>
          <a:p>
            <a:pPr lvl="0"/>
            <a:r>
              <a:rPr lang="en-US" noProof="0"/>
              <a:t>Nr.</a:t>
            </a:r>
          </a:p>
        </p:txBody>
      </p:sp>
      <p:sp>
        <p:nvSpPr>
          <p:cNvPr id="6" name="Title">
            <a:extLst>
              <a:ext uri="{FF2B5EF4-FFF2-40B4-BE49-F238E27FC236}">
                <a16:creationId xmlns:a16="http://schemas.microsoft.com/office/drawing/2014/main" id="{7B94D8A8-4B77-4829-982D-1A3D414A0E71}"/>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7EB33F8-02F3-4EEB-93FB-9B514FC31E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9C70D32-2EA3-441D-A93F-DF718BFCDEBA}"/>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3" name="Datumsplatzhalter 2">
            <a:extLst>
              <a:ext uri="{FF2B5EF4-FFF2-40B4-BE49-F238E27FC236}">
                <a16:creationId xmlns:a16="http://schemas.microsoft.com/office/drawing/2014/main" id="{EA2E27F5-417D-4B9C-8EF7-DF7FA4C3F7BC}"/>
              </a:ext>
            </a:extLst>
          </p:cNvPr>
          <p:cNvSpPr>
            <a:spLocks noGrp="1"/>
          </p:cNvSpPr>
          <p:nvPr>
            <p:ph type="dt" sz="half" idx="10"/>
            <p:custDataLst>
              <p:tags r:id="rId10"/>
            </p:custDataLst>
          </p:nvPr>
        </p:nvSpPr>
        <p:spPr/>
        <p:txBody>
          <a:bodyPr/>
          <a:lstStyle>
            <a:lvl1pPr>
              <a:defRPr baseline="0">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13450A25-881E-4FFE-ACFD-C807B4FD717F}"/>
              </a:ext>
            </a:extLst>
          </p:cNvPr>
          <p:cNvSpPr>
            <a:spLocks noGrp="1"/>
          </p:cNvSpPr>
          <p:nvPr>
            <p:ph type="ftr" sz="quarter" idx="11"/>
            <p:custDataLst>
              <p:tags r:id="rId11"/>
            </p:custDataLst>
          </p:nvPr>
        </p:nvSpPr>
        <p:spPr/>
        <p:txBody>
          <a:bodyPr/>
          <a:lstStyle>
            <a:lvl1pPr>
              <a:defRPr baseline="0">
                <a:latin typeface="+mn-lt"/>
                <a:ea typeface="+mn-ea"/>
                <a:cs typeface="+mn-cs"/>
              </a:defRPr>
            </a:lvl1pPr>
          </a:lstStyle>
          <a:p>
            <a:endParaRPr lang="en-US" dirty="0"/>
          </a:p>
        </p:txBody>
      </p:sp>
      <p:sp>
        <p:nvSpPr>
          <p:cNvPr id="5" name="Foliennummernplatzhalter 4">
            <a:extLst>
              <a:ext uri="{FF2B5EF4-FFF2-40B4-BE49-F238E27FC236}">
                <a16:creationId xmlns:a16="http://schemas.microsoft.com/office/drawing/2014/main" id="{DF99236F-D452-4DB6-A4AD-50BFC16FB7A2}"/>
              </a:ext>
            </a:extLst>
          </p:cNvPr>
          <p:cNvSpPr>
            <a:spLocks noGrp="1"/>
          </p:cNvSpPr>
          <p:nvPr>
            <p:ph type="sldNum" sz="quarter" idx="12"/>
          </p:nvPr>
        </p:nvSpPr>
        <p:spPr/>
        <p:txBody>
          <a:bodyPr/>
          <a:lstStyle>
            <a:lvl1pPr>
              <a:defRPr baseline="0">
                <a:latin typeface="+mn-lt"/>
                <a:ea typeface="+mn-ea"/>
                <a:cs typeface="+mn-cs"/>
              </a:defRPr>
            </a:lvl1pPr>
          </a:lstStyle>
          <a:p>
            <a:fld id="{BA925C6C-614A-4D70-B313-7ADCEE25F184}" type="slidenum">
              <a:rPr lang="en-US" smtClean="0"/>
              <a:pPr/>
              <a:t>‹#›</a:t>
            </a:fld>
            <a:endParaRPr lang="en-US" dirty="0"/>
          </a:p>
        </p:txBody>
      </p:sp>
      <p:sp>
        <p:nvSpPr>
          <p:cNvPr id="16" name="MIO_AGENDA_IGNORE_CHAPTER_REFERENCE" hidden="1">
            <a:extLst>
              <a:ext uri="{FF2B5EF4-FFF2-40B4-BE49-F238E27FC236}">
                <a16:creationId xmlns:a16="http://schemas.microsoft.com/office/drawing/2014/main" id="{95A5B893-AEEA-4A9B-834F-0AED2489648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4152264315"/>
      </p:ext>
    </p:extLst>
  </p:cSld>
  <p:clrMapOvr>
    <a:masterClrMapping/>
  </p:clrMapOvr>
  <p:hf hdr="0" dt="0"/>
  <p:extLst>
    <p:ext uri="{DCECCB84-F9BA-43D5-87BE-67443E8EF086}">
      <p15:sldGuideLst xmlns:p15="http://schemas.microsoft.com/office/powerpoint/2012/main">
        <p15:guide id="1" pos="778">
          <p15:clr>
            <a:srgbClr val="FBAE40"/>
          </p15:clr>
        </p15:guide>
        <p15:guide id="2" pos="7469">
          <p15:clr>
            <a:srgbClr val="FBAE40"/>
          </p15:clr>
        </p15:guide>
        <p15:guide id="3" pos="211">
          <p15:clr>
            <a:srgbClr val="FBAE40"/>
          </p15:clr>
        </p15:guide>
        <p15:guide id="4" orient="horz" pos="799">
          <p15:clr>
            <a:srgbClr val="FBAE40"/>
          </p15:clr>
        </p15:guide>
        <p15:guide id="5" orient="horz" pos="40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IFX_Title_and_Two_Conten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76F2A5E3-B418-4BBA-9BB6-1B9A4DD0BBB1}"/>
              </a:ext>
            </a:extLst>
          </p:cNvPr>
          <p:cNvSpPr>
            <a:spLocks noGrp="1"/>
          </p:cNvSpPr>
          <p:nvPr>
            <p:ph type="dt" sz="half" idx="10"/>
            <p:custDataLst>
              <p:tags r:id="rId1"/>
            </p:custDataLst>
          </p:nvPr>
        </p:nvSpPr>
        <p:spPr/>
        <p:txBody>
          <a:bodyPr/>
          <a:lstStyle>
            <a:lvl1pPr>
              <a:defRPr>
                <a:latin typeface="+mn-lt"/>
                <a:ea typeface="+mn-ea"/>
                <a:cs typeface="+mn-cs"/>
              </a:defRPr>
            </a:lvl1pPr>
          </a:lstStyle>
          <a:p>
            <a:endParaRPr lang="en-US" b="1" dirty="0"/>
          </a:p>
        </p:txBody>
      </p:sp>
      <p:sp>
        <p:nvSpPr>
          <p:cNvPr id="4" name="Fußzeilenplatzhalter 3">
            <a:extLst>
              <a:ext uri="{FF2B5EF4-FFF2-40B4-BE49-F238E27FC236}">
                <a16:creationId xmlns:a16="http://schemas.microsoft.com/office/drawing/2014/main" id="{32322FAC-C74F-4AC8-B6CE-11DFE6D14D8A}"/>
              </a:ext>
            </a:extLst>
          </p:cNvPr>
          <p:cNvSpPr>
            <a:spLocks noGrp="1"/>
          </p:cNvSpPr>
          <p:nvPr>
            <p:ph type="ftr" sz="quarter" idx="11"/>
            <p:custDataLst>
              <p:tags r:id="rId2"/>
            </p:custDataLst>
          </p:nvPr>
        </p:nvSpPr>
        <p:spPr/>
        <p:txBody>
          <a:bodyPr/>
          <a:lstStyle>
            <a:lvl1pPr>
              <a:defRPr>
                <a:latin typeface="+mn-lt"/>
                <a:ea typeface="+mn-ea"/>
                <a:cs typeface="+mn-cs"/>
              </a:defRPr>
            </a:lvl1pPr>
          </a:lstStyle>
          <a:p>
            <a:endParaRPr lang="en-US" dirty="0"/>
          </a:p>
        </p:txBody>
      </p:sp>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3"/>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4"/>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rgbClr val="928285"/>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5"/>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Infineon Proprietary</a:t>
            </a: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6"/>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 DRAFT -</a:t>
            </a: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7"/>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Copyright © Infineon Technologies AG 2021.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8"/>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E30034"/>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9"/>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rgbClr val="928285"/>
                </a:solidFill>
                <a:latin typeface="+mn-lt"/>
                <a:ea typeface="+mn-ea"/>
                <a:cs typeface="+mn-cs"/>
              </a:rPr>
              <a:t>restricted</a:t>
            </a: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10"/>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rgbClr val="928285"/>
                </a:solidFill>
                <a:latin typeface="+mn-lt"/>
                <a:ea typeface="+mn-ea"/>
                <a:cs typeface="+mn-cs"/>
              </a:rPr>
              <a:t>2021-02-08</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liennummernplatzhalter 4">
            <a:extLst>
              <a:ext uri="{FF2B5EF4-FFF2-40B4-BE49-F238E27FC236}">
                <a16:creationId xmlns:a16="http://schemas.microsoft.com/office/drawing/2014/main" id="{7CDE0089-559D-4402-B6DB-F9910ACD313D}"/>
              </a:ext>
            </a:extLst>
          </p:cNvPr>
          <p:cNvSpPr>
            <a:spLocks noGrp="1"/>
          </p:cNvSpPr>
          <p:nvPr>
            <p:ph type="sldNum" sz="quarter" idx="12"/>
          </p:nvPr>
        </p:nvSpPr>
        <p:spPr/>
        <p:txBody>
          <a:bodyPr/>
          <a:lstStyle>
            <a:lvl1pPr>
              <a:defRPr>
                <a:latin typeface="+mn-lt"/>
                <a:ea typeface="+mn-ea"/>
                <a:cs typeface="+mn-cs"/>
              </a:defRPr>
            </a:lvl1pPr>
          </a:lstStyle>
          <a:p>
            <a:fld id="{BA925C6C-614A-4D70-B313-7ADCEE25F184}" type="slidenum">
              <a:rPr lang="en-US" smtClean="0"/>
              <a:pPr/>
              <a:t>‹#›</a:t>
            </a:fld>
            <a:endParaRPr lang="en-US" dirty="0"/>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1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Tree>
    <p:extLst>
      <p:ext uri="{BB962C8B-B14F-4D97-AF65-F5344CB8AC3E}">
        <p14:creationId xmlns:p14="http://schemas.microsoft.com/office/powerpoint/2010/main" val="3675378054"/>
      </p:ext>
    </p:extLst>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IFX_Section">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7266DD-AEAC-4933-8B4E-8E64D7A9B0A0}"/>
              </a:ext>
            </a:extLst>
          </p:cNvPr>
          <p:cNvSpPr>
            <a:spLocks noGrp="1"/>
          </p:cNvSpPr>
          <p:nvPr>
            <p:ph type="dt" sz="half" idx="10"/>
            <p:custDataLst>
              <p:tags r:id="rId1"/>
            </p:custDataLst>
          </p:nvPr>
        </p:nvSpPr>
        <p:spPr/>
        <p:txBody>
          <a:bodyPr/>
          <a:lstStyle>
            <a:lvl1pPr>
              <a:defRPr baseline="0">
                <a:latin typeface="+mn-lt"/>
                <a:ea typeface="+mn-ea"/>
                <a:cs typeface="+mn-cs"/>
              </a:defRPr>
            </a:lvl1pPr>
          </a:lstStyle>
          <a:p>
            <a:endParaRPr lang="en-US" b="1" dirty="0"/>
          </a:p>
        </p:txBody>
      </p:sp>
      <p:sp>
        <p:nvSpPr>
          <p:cNvPr id="3" name="Fußzeilenplatzhalter 2">
            <a:extLst>
              <a:ext uri="{FF2B5EF4-FFF2-40B4-BE49-F238E27FC236}">
                <a16:creationId xmlns:a16="http://schemas.microsoft.com/office/drawing/2014/main" id="{31021D26-A7B3-4457-8092-9BAC6C8C2DC6}"/>
              </a:ext>
            </a:extLst>
          </p:cNvPr>
          <p:cNvSpPr>
            <a:spLocks noGrp="1"/>
          </p:cNvSpPr>
          <p:nvPr>
            <p:ph type="ftr" sz="quarter" idx="11"/>
            <p:custDataLst>
              <p:tags r:id="rId2"/>
            </p:custDataLst>
          </p:nvPr>
        </p:nvSpPr>
        <p:spPr/>
        <p:txBody>
          <a:bodyPr/>
          <a:lstStyle>
            <a:lvl1pPr>
              <a:defRPr baseline="0">
                <a:latin typeface="+mn-lt"/>
                <a:ea typeface="+mn-ea"/>
                <a:cs typeface="+mn-cs"/>
              </a:defRPr>
            </a:lvl1pPr>
          </a:lstStyle>
          <a:p>
            <a:endParaRPr lang="en-US" dirty="0"/>
          </a:p>
        </p:txBody>
      </p:sp>
      <p:sp>
        <p:nvSpPr>
          <p:cNvPr id="4" name="Foliennummernplatzhalter 3">
            <a:extLst>
              <a:ext uri="{FF2B5EF4-FFF2-40B4-BE49-F238E27FC236}">
                <a16:creationId xmlns:a16="http://schemas.microsoft.com/office/drawing/2014/main" id="{398E21DF-D382-454E-8251-3B36DF65A4F3}"/>
              </a:ext>
            </a:extLst>
          </p:cNvPr>
          <p:cNvSpPr>
            <a:spLocks noGrp="1"/>
          </p:cNvSpPr>
          <p:nvPr>
            <p:ph type="sldNum" sz="quarter" idx="12"/>
          </p:nvPr>
        </p:nvSpPr>
        <p:spPr/>
        <p:txBody>
          <a:bodyPr/>
          <a:lstStyle>
            <a:lvl1pPr>
              <a:defRPr baseline="0">
                <a:noFill/>
                <a:latin typeface="+mn-lt"/>
                <a:ea typeface="+mn-ea"/>
                <a:cs typeface="+mn-cs"/>
              </a:defRPr>
            </a:lvl1pPr>
          </a:lstStyle>
          <a:p>
            <a:fld id="{BA925C6C-614A-4D70-B313-7ADCEE25F184}" type="slidenum">
              <a:rPr lang="en-US" smtClean="0"/>
              <a:pPr/>
              <a:t>‹#›</a:t>
            </a:fld>
            <a:endParaRPr lang="en-US" dirty="0"/>
          </a:p>
        </p:txBody>
      </p:sp>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grpSp>
        <p:nvGrpSpPr>
          <p:cNvPr id="10" name="Lines"/>
          <p:cNvGrpSpPr/>
          <p:nvPr/>
        </p:nvGrpSpPr>
        <p:grpSpPr>
          <a:xfrm>
            <a:off x="-35982" y="0"/>
            <a:ext cx="12227983" cy="5733256"/>
            <a:chOff x="-26987" y="0"/>
            <a:chExt cx="9170987" cy="5733256"/>
          </a:xfrm>
          <a:solidFill>
            <a:schemeClr val="accent3"/>
          </a:solidFill>
        </p:grpSpPr>
        <p:cxnSp>
          <p:nvCxnSpPr>
            <p:cNvPr id="11" name="Gerade Verbindung 5"/>
            <p:cNvCxnSpPr/>
            <p:nvPr/>
          </p:nvCxnSpPr>
          <p:spPr>
            <a:xfrm flipH="1">
              <a:off x="3587742" y="2708920"/>
              <a:ext cx="5556256" cy="2127991"/>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 Verbindung 10"/>
            <p:cNvCxnSpPr/>
            <p:nvPr/>
          </p:nvCxnSpPr>
          <p:spPr>
            <a:xfrm flipH="1" flipV="1">
              <a:off x="3587741" y="4836910"/>
              <a:ext cx="264179" cy="896346"/>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 Verbindung 13"/>
            <p:cNvCxnSpPr/>
            <p:nvPr/>
          </p:nvCxnSpPr>
          <p:spPr>
            <a:xfrm flipH="1" flipV="1">
              <a:off x="-26987" y="3429646"/>
              <a:ext cx="3614729" cy="1407264"/>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 Verbindung 16"/>
            <p:cNvCxnSpPr/>
            <p:nvPr/>
          </p:nvCxnSpPr>
          <p:spPr>
            <a:xfrm flipH="1" flipV="1">
              <a:off x="5652120" y="0"/>
              <a:ext cx="3491880" cy="4149081"/>
            </a:xfrm>
            <a:prstGeom prst="line">
              <a:avLst/>
            </a:prstGeom>
            <a:grpFill/>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6" name="Ellipse 6"/>
            <p:cNvSpPr/>
            <p:nvPr/>
          </p:nvSpPr>
          <p:spPr bwMode="auto">
            <a:xfrm>
              <a:off x="3535623" y="4765225"/>
              <a:ext cx="108000" cy="144000"/>
            </a:xfrm>
            <a:prstGeom prst="ellipse">
              <a:avLst/>
            </a:prstGeom>
            <a:solidFill>
              <a:schemeClr val="accent3"/>
            </a:solidFill>
            <a:ln w="9525">
              <a:solidFill>
                <a:schemeClr val="accent3"/>
              </a:solidFill>
              <a:miter lim="800000"/>
              <a:headEnd/>
              <a:tailEnd/>
            </a:ln>
          </p:spPr>
          <p:txBody>
            <a:bodyPr wrap="square" lIns="72000" tIns="72000" rIns="72000" bIns="72000" rtlCol="0" anchor="ctr"/>
            <a:lstStyle/>
            <a:p>
              <a:pPr algn="ctr" eaLnBrk="0" hangingPunct="0"/>
              <a:endParaRPr lang="en-US" sz="2133" baseline="0" noProof="0">
                <a:latin typeface="+mn-lt"/>
                <a:ea typeface="+mn-ea"/>
                <a:cs typeface="+mn-cs"/>
              </a:endParaRPr>
            </a:p>
          </p:txBody>
        </p:sp>
      </p:grpSp>
      <p:sp>
        <p:nvSpPr>
          <p:cNvPr id="17" name="Background Shape">
            <a:extLst>
              <a:ext uri="{FF2B5EF4-FFF2-40B4-BE49-F238E27FC236}">
                <a16:creationId xmlns:a16="http://schemas.microsoft.com/office/drawing/2014/main" id="{53E8A2FC-E199-464B-B567-84BD0308D940}"/>
              </a:ext>
            </a:extLst>
          </p:cNvPr>
          <p:cNvSpPr/>
          <p:nvPr/>
        </p:nvSpPr>
        <p:spPr bwMode="auto">
          <a:xfrm>
            <a:off x="0" y="4966780"/>
            <a:ext cx="12197369" cy="1891220"/>
          </a:xfrm>
          <a:custGeom>
            <a:avLst/>
            <a:gdLst>
              <a:gd name="connsiteX0" fmla="*/ 9113004 w 9113004"/>
              <a:gd name="connsiteY0" fmla="*/ 92990 h 1906291"/>
              <a:gd name="connsiteX1" fmla="*/ 9113004 w 9113004"/>
              <a:gd name="connsiteY1" fmla="*/ 1906291 h 1906291"/>
              <a:gd name="connsiteX2" fmla="*/ 0 w 9113004"/>
              <a:gd name="connsiteY2" fmla="*/ 1906291 h 1906291"/>
              <a:gd name="connsiteX3" fmla="*/ 0 w 9113004"/>
              <a:gd name="connsiteY3" fmla="*/ 674176 h 1906291"/>
              <a:gd name="connsiteX4" fmla="*/ 7849892 w 9113004"/>
              <a:gd name="connsiteY4" fmla="*/ 0 h 1906291"/>
              <a:gd name="connsiteX5" fmla="*/ 9113004 w 9113004"/>
              <a:gd name="connsiteY5" fmla="*/ 92990 h 1906291"/>
              <a:gd name="connsiteX0" fmla="*/ 9120917 w 9120917"/>
              <a:gd name="connsiteY0" fmla="*/ 92990 h 1906291"/>
              <a:gd name="connsiteX1" fmla="*/ 9120917 w 9120917"/>
              <a:gd name="connsiteY1" fmla="*/ 1906291 h 1906291"/>
              <a:gd name="connsiteX2" fmla="*/ 7913 w 9120917"/>
              <a:gd name="connsiteY2" fmla="*/ 1906291 h 1906291"/>
              <a:gd name="connsiteX3" fmla="*/ 0 w 9120917"/>
              <a:gd name="connsiteY3" fmla="*/ 525435 h 1906291"/>
              <a:gd name="connsiteX4" fmla="*/ 7857805 w 9120917"/>
              <a:gd name="connsiteY4" fmla="*/ 0 h 1906291"/>
              <a:gd name="connsiteX5" fmla="*/ 9120917 w 9120917"/>
              <a:gd name="connsiteY5" fmla="*/ 92990 h 1906291"/>
              <a:gd name="connsiteX0" fmla="*/ 9120917 w 9120917"/>
              <a:gd name="connsiteY0" fmla="*/ 0 h 1813301"/>
              <a:gd name="connsiteX1" fmla="*/ 9120917 w 9120917"/>
              <a:gd name="connsiteY1" fmla="*/ 1813301 h 1813301"/>
              <a:gd name="connsiteX2" fmla="*/ 7913 w 9120917"/>
              <a:gd name="connsiteY2" fmla="*/ 1813301 h 1813301"/>
              <a:gd name="connsiteX3" fmla="*/ 0 w 9120917"/>
              <a:gd name="connsiteY3" fmla="*/ 432445 h 1813301"/>
              <a:gd name="connsiteX4" fmla="*/ 7841980 w 9120917"/>
              <a:gd name="connsiteY4" fmla="*/ 683774 h 1813301"/>
              <a:gd name="connsiteX5" fmla="*/ 9120917 w 9120917"/>
              <a:gd name="connsiteY5" fmla="*/ 0 h 1813301"/>
              <a:gd name="connsiteX0" fmla="*/ 9120917 w 9120917"/>
              <a:gd name="connsiteY0" fmla="*/ 0 h 1813301"/>
              <a:gd name="connsiteX1" fmla="*/ 9120917 w 9120917"/>
              <a:gd name="connsiteY1" fmla="*/ 1813301 h 1813301"/>
              <a:gd name="connsiteX2" fmla="*/ 7913 w 9120917"/>
              <a:gd name="connsiteY2" fmla="*/ 1813301 h 1813301"/>
              <a:gd name="connsiteX3" fmla="*/ 0 w 9120917"/>
              <a:gd name="connsiteY3" fmla="*/ 432445 h 1813301"/>
              <a:gd name="connsiteX4" fmla="*/ 9120917 w 9120917"/>
              <a:gd name="connsiteY4" fmla="*/ 0 h 1813301"/>
              <a:gd name="connsiteX0" fmla="*/ 9165530 w 9165530"/>
              <a:gd name="connsiteY0" fmla="*/ 0 h 1968240"/>
              <a:gd name="connsiteX1" fmla="*/ 9120917 w 9165530"/>
              <a:gd name="connsiteY1" fmla="*/ 1968240 h 1968240"/>
              <a:gd name="connsiteX2" fmla="*/ 7913 w 9165530"/>
              <a:gd name="connsiteY2" fmla="*/ 1968240 h 1968240"/>
              <a:gd name="connsiteX3" fmla="*/ 0 w 9165530"/>
              <a:gd name="connsiteY3" fmla="*/ 587384 h 1968240"/>
              <a:gd name="connsiteX4" fmla="*/ 9165530 w 9165530"/>
              <a:gd name="connsiteY4" fmla="*/ 0 h 1968240"/>
              <a:gd name="connsiteX0" fmla="*/ 9128352 w 9128352"/>
              <a:gd name="connsiteY0" fmla="*/ 0 h 1916593"/>
              <a:gd name="connsiteX1" fmla="*/ 9120917 w 9128352"/>
              <a:gd name="connsiteY1" fmla="*/ 1916593 h 1916593"/>
              <a:gd name="connsiteX2" fmla="*/ 7913 w 9128352"/>
              <a:gd name="connsiteY2" fmla="*/ 1916593 h 1916593"/>
              <a:gd name="connsiteX3" fmla="*/ 0 w 9128352"/>
              <a:gd name="connsiteY3" fmla="*/ 535737 h 1916593"/>
              <a:gd name="connsiteX4" fmla="*/ 9128352 w 9128352"/>
              <a:gd name="connsiteY4" fmla="*/ 0 h 1916593"/>
              <a:gd name="connsiteX0" fmla="*/ 9120917 w 9121632"/>
              <a:gd name="connsiteY0" fmla="*/ 0 h 1937251"/>
              <a:gd name="connsiteX1" fmla="*/ 9120917 w 9121632"/>
              <a:gd name="connsiteY1" fmla="*/ 1937251 h 1937251"/>
              <a:gd name="connsiteX2" fmla="*/ 7913 w 9121632"/>
              <a:gd name="connsiteY2" fmla="*/ 1937251 h 1937251"/>
              <a:gd name="connsiteX3" fmla="*/ 0 w 9121632"/>
              <a:gd name="connsiteY3" fmla="*/ 556395 h 1937251"/>
              <a:gd name="connsiteX4" fmla="*/ 9120917 w 9121632"/>
              <a:gd name="connsiteY4" fmla="*/ 0 h 1937251"/>
              <a:gd name="connsiteX0" fmla="*/ 9120917 w 9121632"/>
              <a:gd name="connsiteY0" fmla="*/ 0 h 1947580"/>
              <a:gd name="connsiteX1" fmla="*/ 9120917 w 9121632"/>
              <a:gd name="connsiteY1" fmla="*/ 1947580 h 1947580"/>
              <a:gd name="connsiteX2" fmla="*/ 7913 w 9121632"/>
              <a:gd name="connsiteY2" fmla="*/ 1947580 h 1947580"/>
              <a:gd name="connsiteX3" fmla="*/ 0 w 9121632"/>
              <a:gd name="connsiteY3" fmla="*/ 566724 h 1947580"/>
              <a:gd name="connsiteX4" fmla="*/ 9120917 w 9121632"/>
              <a:gd name="connsiteY4" fmla="*/ 0 h 1947580"/>
              <a:gd name="connsiteX0" fmla="*/ 9120917 w 9121632"/>
              <a:gd name="connsiteY0" fmla="*/ 0 h 1947580"/>
              <a:gd name="connsiteX1" fmla="*/ 9120917 w 9121632"/>
              <a:gd name="connsiteY1" fmla="*/ 1947580 h 1947580"/>
              <a:gd name="connsiteX2" fmla="*/ 7913 w 9121632"/>
              <a:gd name="connsiteY2" fmla="*/ 1947580 h 1947580"/>
              <a:gd name="connsiteX3" fmla="*/ 0 w 9121632"/>
              <a:gd name="connsiteY3" fmla="*/ 566724 h 1947580"/>
              <a:gd name="connsiteX4" fmla="*/ 9120917 w 9121632"/>
              <a:gd name="connsiteY4" fmla="*/ 0 h 1947580"/>
              <a:gd name="connsiteX0" fmla="*/ 9122756 w 9122756"/>
              <a:gd name="connsiteY0" fmla="*/ 0 h 1965461"/>
              <a:gd name="connsiteX1" fmla="*/ 9120917 w 9122756"/>
              <a:gd name="connsiteY1" fmla="*/ 1965461 h 1965461"/>
              <a:gd name="connsiteX2" fmla="*/ 7913 w 9122756"/>
              <a:gd name="connsiteY2" fmla="*/ 1965461 h 1965461"/>
              <a:gd name="connsiteX3" fmla="*/ 0 w 9122756"/>
              <a:gd name="connsiteY3" fmla="*/ 584605 h 1965461"/>
              <a:gd name="connsiteX4" fmla="*/ 9122756 w 9122756"/>
              <a:gd name="connsiteY4" fmla="*/ 0 h 1965461"/>
              <a:gd name="connsiteX0" fmla="*/ 9120917 w 9120917"/>
              <a:gd name="connsiteY0" fmla="*/ 0 h 1965461"/>
              <a:gd name="connsiteX1" fmla="*/ 9119078 w 9120917"/>
              <a:gd name="connsiteY1" fmla="*/ 1965461 h 1965461"/>
              <a:gd name="connsiteX2" fmla="*/ 6074 w 9120917"/>
              <a:gd name="connsiteY2" fmla="*/ 1965461 h 1965461"/>
              <a:gd name="connsiteX3" fmla="*/ 0 w 9120917"/>
              <a:gd name="connsiteY3" fmla="*/ 579496 h 1965461"/>
              <a:gd name="connsiteX4" fmla="*/ 9120917 w 9120917"/>
              <a:gd name="connsiteY4" fmla="*/ 0 h 1965461"/>
              <a:gd name="connsiteX0" fmla="*/ 9121190 w 9121190"/>
              <a:gd name="connsiteY0" fmla="*/ 0 h 1965461"/>
              <a:gd name="connsiteX1" fmla="*/ 9119351 w 9121190"/>
              <a:gd name="connsiteY1" fmla="*/ 1965461 h 1965461"/>
              <a:gd name="connsiteX2" fmla="*/ 832 w 9121190"/>
              <a:gd name="connsiteY2" fmla="*/ 1965461 h 1965461"/>
              <a:gd name="connsiteX3" fmla="*/ 273 w 9121190"/>
              <a:gd name="connsiteY3" fmla="*/ 579496 h 1965461"/>
              <a:gd name="connsiteX4" fmla="*/ 9121190 w 9121190"/>
              <a:gd name="connsiteY4" fmla="*/ 0 h 1965461"/>
              <a:gd name="connsiteX0" fmla="*/ 9120917 w 9120917"/>
              <a:gd name="connsiteY0" fmla="*/ 0 h 1965461"/>
              <a:gd name="connsiteX1" fmla="*/ 9119078 w 9120917"/>
              <a:gd name="connsiteY1" fmla="*/ 1965461 h 1965461"/>
              <a:gd name="connsiteX2" fmla="*/ 4235 w 9120917"/>
              <a:gd name="connsiteY2" fmla="*/ 1965461 h 1965461"/>
              <a:gd name="connsiteX3" fmla="*/ 0 w 9120917"/>
              <a:gd name="connsiteY3" fmla="*/ 579496 h 1965461"/>
              <a:gd name="connsiteX4" fmla="*/ 9120917 w 9120917"/>
              <a:gd name="connsiteY4" fmla="*/ 0 h 1965461"/>
              <a:gd name="connsiteX0" fmla="*/ 9120917 w 9120917"/>
              <a:gd name="connsiteY0" fmla="*/ 0 h 1965461"/>
              <a:gd name="connsiteX1" fmla="*/ 9119078 w 9120917"/>
              <a:gd name="connsiteY1" fmla="*/ 1965461 h 1965461"/>
              <a:gd name="connsiteX2" fmla="*/ 2397 w 9120917"/>
              <a:gd name="connsiteY2" fmla="*/ 1962907 h 1965461"/>
              <a:gd name="connsiteX3" fmla="*/ 0 w 9120917"/>
              <a:gd name="connsiteY3" fmla="*/ 579496 h 1965461"/>
              <a:gd name="connsiteX4" fmla="*/ 9120917 w 9120917"/>
              <a:gd name="connsiteY4" fmla="*/ 0 h 1965461"/>
              <a:gd name="connsiteX0" fmla="*/ 9121190 w 9121190"/>
              <a:gd name="connsiteY0" fmla="*/ 0 h 1965462"/>
              <a:gd name="connsiteX1" fmla="*/ 9119351 w 9121190"/>
              <a:gd name="connsiteY1" fmla="*/ 1965461 h 1965462"/>
              <a:gd name="connsiteX2" fmla="*/ 832 w 9121190"/>
              <a:gd name="connsiteY2" fmla="*/ 1965462 h 1965462"/>
              <a:gd name="connsiteX3" fmla="*/ 273 w 9121190"/>
              <a:gd name="connsiteY3" fmla="*/ 579496 h 1965462"/>
              <a:gd name="connsiteX4" fmla="*/ 9121190 w 9121190"/>
              <a:gd name="connsiteY4" fmla="*/ 0 h 1965462"/>
              <a:gd name="connsiteX0" fmla="*/ 9120917 w 9120917"/>
              <a:gd name="connsiteY0" fmla="*/ 0 h 1965462"/>
              <a:gd name="connsiteX1" fmla="*/ 9119078 w 9120917"/>
              <a:gd name="connsiteY1" fmla="*/ 1965461 h 1965462"/>
              <a:gd name="connsiteX2" fmla="*/ 2397 w 9120917"/>
              <a:gd name="connsiteY2" fmla="*/ 1965462 h 1965462"/>
              <a:gd name="connsiteX3" fmla="*/ 0 w 9120917"/>
              <a:gd name="connsiteY3" fmla="*/ 579496 h 1965462"/>
              <a:gd name="connsiteX4" fmla="*/ 9120917 w 9120917"/>
              <a:gd name="connsiteY4" fmla="*/ 0 h 1965462"/>
              <a:gd name="connsiteX0" fmla="*/ 9120917 w 9120917"/>
              <a:gd name="connsiteY0" fmla="*/ 0 h 1965462"/>
              <a:gd name="connsiteX1" fmla="*/ 9119078 w 9120917"/>
              <a:gd name="connsiteY1" fmla="*/ 1965461 h 1965462"/>
              <a:gd name="connsiteX2" fmla="*/ 2397 w 9120917"/>
              <a:gd name="connsiteY2" fmla="*/ 1965462 h 1965462"/>
              <a:gd name="connsiteX3" fmla="*/ 0 w 9120917"/>
              <a:gd name="connsiteY3" fmla="*/ 579496 h 1965462"/>
              <a:gd name="connsiteX4" fmla="*/ 9120917 w 9120917"/>
              <a:gd name="connsiteY4" fmla="*/ 0 h 1965462"/>
              <a:gd name="connsiteX0" fmla="*/ 9121190 w 9121190"/>
              <a:gd name="connsiteY0" fmla="*/ 0 h 1970571"/>
              <a:gd name="connsiteX1" fmla="*/ 9119351 w 9121190"/>
              <a:gd name="connsiteY1" fmla="*/ 1965461 h 1970571"/>
              <a:gd name="connsiteX2" fmla="*/ 832 w 9121190"/>
              <a:gd name="connsiteY2" fmla="*/ 1970571 h 1970571"/>
              <a:gd name="connsiteX3" fmla="*/ 273 w 9121190"/>
              <a:gd name="connsiteY3" fmla="*/ 579496 h 1970571"/>
              <a:gd name="connsiteX4" fmla="*/ 9121190 w 9121190"/>
              <a:gd name="connsiteY4" fmla="*/ 0 h 1970571"/>
              <a:gd name="connsiteX0" fmla="*/ 9121190 w 9121190"/>
              <a:gd name="connsiteY0" fmla="*/ 0 h 1968017"/>
              <a:gd name="connsiteX1" fmla="*/ 9119351 w 9121190"/>
              <a:gd name="connsiteY1" fmla="*/ 1965461 h 1968017"/>
              <a:gd name="connsiteX2" fmla="*/ 832 w 9121190"/>
              <a:gd name="connsiteY2" fmla="*/ 1968017 h 1968017"/>
              <a:gd name="connsiteX3" fmla="*/ 273 w 9121190"/>
              <a:gd name="connsiteY3" fmla="*/ 579496 h 1968017"/>
              <a:gd name="connsiteX4" fmla="*/ 9121190 w 9121190"/>
              <a:gd name="connsiteY4" fmla="*/ 0 h 1968017"/>
              <a:gd name="connsiteX0" fmla="*/ 9121190 w 9121190"/>
              <a:gd name="connsiteY0" fmla="*/ 0 h 1968017"/>
              <a:gd name="connsiteX1" fmla="*/ 9119351 w 9121190"/>
              <a:gd name="connsiteY1" fmla="*/ 1965461 h 1968017"/>
              <a:gd name="connsiteX2" fmla="*/ 832 w 9121190"/>
              <a:gd name="connsiteY2" fmla="*/ 1968017 h 1968017"/>
              <a:gd name="connsiteX3" fmla="*/ 273 w 9121190"/>
              <a:gd name="connsiteY3" fmla="*/ 579496 h 1968017"/>
              <a:gd name="connsiteX4" fmla="*/ 9121190 w 9121190"/>
              <a:gd name="connsiteY4" fmla="*/ 0 h 1968017"/>
              <a:gd name="connsiteX0" fmla="*/ 9120917 w 9120917"/>
              <a:gd name="connsiteY0" fmla="*/ 0 h 1968017"/>
              <a:gd name="connsiteX1" fmla="*/ 9119078 w 9120917"/>
              <a:gd name="connsiteY1" fmla="*/ 1965461 h 1968017"/>
              <a:gd name="connsiteX2" fmla="*/ 2397 w 9120917"/>
              <a:gd name="connsiteY2" fmla="*/ 1968017 h 1968017"/>
              <a:gd name="connsiteX3" fmla="*/ 0 w 9120917"/>
              <a:gd name="connsiteY3" fmla="*/ 579496 h 1968017"/>
              <a:gd name="connsiteX4" fmla="*/ 9120917 w 9120917"/>
              <a:gd name="connsiteY4" fmla="*/ 0 h 1968017"/>
              <a:gd name="connsiteX0" fmla="*/ 9120917 w 9120917"/>
              <a:gd name="connsiteY0" fmla="*/ 0 h 1968017"/>
              <a:gd name="connsiteX1" fmla="*/ 9119078 w 9120917"/>
              <a:gd name="connsiteY1" fmla="*/ 1965461 h 1968017"/>
              <a:gd name="connsiteX2" fmla="*/ 2397 w 9120917"/>
              <a:gd name="connsiteY2" fmla="*/ 1968017 h 1968017"/>
              <a:gd name="connsiteX3" fmla="*/ 0 w 9120917"/>
              <a:gd name="connsiteY3" fmla="*/ 579496 h 1968017"/>
              <a:gd name="connsiteX4" fmla="*/ 9120917 w 9120917"/>
              <a:gd name="connsiteY4" fmla="*/ 0 h 1968017"/>
              <a:gd name="connsiteX0" fmla="*/ 9120917 w 9120917"/>
              <a:gd name="connsiteY0" fmla="*/ 0 h 1968017"/>
              <a:gd name="connsiteX1" fmla="*/ 9119078 w 9120917"/>
              <a:gd name="connsiteY1" fmla="*/ 1965461 h 1968017"/>
              <a:gd name="connsiteX2" fmla="*/ 2397 w 9120917"/>
              <a:gd name="connsiteY2" fmla="*/ 1968017 h 1968017"/>
              <a:gd name="connsiteX3" fmla="*/ 0 w 9120917"/>
              <a:gd name="connsiteY3" fmla="*/ 579496 h 1968017"/>
              <a:gd name="connsiteX4" fmla="*/ 9120917 w 9120917"/>
              <a:gd name="connsiteY4" fmla="*/ 0 h 1968017"/>
              <a:gd name="connsiteX0" fmla="*/ 9122197 w 9122197"/>
              <a:gd name="connsiteY0" fmla="*/ 0 h 1965463"/>
              <a:gd name="connsiteX1" fmla="*/ 9120358 w 9122197"/>
              <a:gd name="connsiteY1" fmla="*/ 1965461 h 1965463"/>
              <a:gd name="connsiteX2" fmla="*/ 0 w 9122197"/>
              <a:gd name="connsiteY2" fmla="*/ 1965463 h 1965463"/>
              <a:gd name="connsiteX3" fmla="*/ 1280 w 9122197"/>
              <a:gd name="connsiteY3" fmla="*/ 579496 h 1965463"/>
              <a:gd name="connsiteX4" fmla="*/ 9122197 w 9122197"/>
              <a:gd name="connsiteY4" fmla="*/ 0 h 1965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2197" h="1965463">
                <a:moveTo>
                  <a:pt x="9122197" y="0"/>
                </a:moveTo>
                <a:cubicBezTo>
                  <a:pt x="9119719" y="638864"/>
                  <a:pt x="9122836" y="1326597"/>
                  <a:pt x="9120358" y="1965461"/>
                </a:cubicBezTo>
                <a:lnTo>
                  <a:pt x="0" y="1965463"/>
                </a:lnTo>
                <a:cubicBezTo>
                  <a:pt x="427" y="1503474"/>
                  <a:pt x="853" y="1041485"/>
                  <a:pt x="1280" y="579496"/>
                </a:cubicBezTo>
                <a:lnTo>
                  <a:pt x="9122197" y="0"/>
                </a:lnTo>
                <a:close/>
              </a:path>
            </a:pathLst>
          </a:custGeom>
          <a:solidFill>
            <a:schemeClr val="accent3"/>
          </a:solidFill>
          <a:ln w="9525">
            <a:noFill/>
            <a:miter lim="800000"/>
            <a:headEnd/>
            <a:tailEnd/>
          </a:ln>
        </p:spPr>
        <p:txBody>
          <a:bodyPr wrap="square" lIns="96000" tIns="96000" rIns="96000" bIns="96000" rtlCol="0" anchor="ctr"/>
          <a:lstStyle/>
          <a:p>
            <a:pPr algn="ctr" eaLnBrk="0" hangingPunct="0"/>
            <a:endParaRPr lang="en-US" sz="2133" b="1" baseline="0" noProof="0">
              <a:latin typeface="+mn-lt"/>
              <a:ea typeface="+mn-ea"/>
              <a:cs typeface="+mn-cs"/>
            </a:endParaRPr>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200" baseline="0">
                <a:latin typeface="+mj-lt"/>
                <a:ea typeface="+mj-ea"/>
                <a:cs typeface="+mj-cs"/>
              </a:defRPr>
            </a:lvl1pPr>
          </a:lstStyle>
          <a:p>
            <a:r>
              <a:rPr lang="en-US" noProof="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3"/>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Tree>
    <p:extLst>
      <p:ext uri="{BB962C8B-B14F-4D97-AF65-F5344CB8AC3E}">
        <p14:creationId xmlns:p14="http://schemas.microsoft.com/office/powerpoint/2010/main" val="989667477"/>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19" name="Deco Shape Right">
            <a:extLst>
              <a:ext uri="{FF2B5EF4-FFF2-40B4-BE49-F238E27FC236}">
                <a16:creationId xmlns:a16="http://schemas.microsoft.com/office/drawing/2014/main" id="{0FEC887A-3A42-42E1-B795-C3A79C447F1E}"/>
              </a:ext>
            </a:extLst>
          </p:cNvPr>
          <p:cNvSpPr>
            <a:spLocks/>
          </p:cNvSpPr>
          <p:nvPr>
            <p:custDataLst>
              <p:tags r:id="rId21"/>
            </p:custDataLst>
          </p:nvPr>
        </p:nvSpPr>
        <p:spPr bwMode="auto">
          <a:xfrm>
            <a:off x="11674115" y="6489341"/>
            <a:ext cx="518564" cy="368660"/>
          </a:xfrm>
          <a:custGeom>
            <a:avLst/>
            <a:gdLst>
              <a:gd name="connsiteX0" fmla="*/ 233365 w 388923"/>
              <a:gd name="connsiteY0" fmla="*/ 0 h 268456"/>
              <a:gd name="connsiteX1" fmla="*/ 388923 w 388923"/>
              <a:gd name="connsiteY1" fmla="*/ 0 h 268456"/>
              <a:gd name="connsiteX2" fmla="*/ 388923 w 388923"/>
              <a:gd name="connsiteY2" fmla="*/ 268456 h 268456"/>
              <a:gd name="connsiteX3" fmla="*/ 0 w 388923"/>
              <a:gd name="connsiteY3" fmla="*/ 268456 h 268456"/>
            </a:gdLst>
            <a:ahLst/>
            <a:cxnLst>
              <a:cxn ang="0">
                <a:pos x="connsiteX0" y="connsiteY0"/>
              </a:cxn>
              <a:cxn ang="0">
                <a:pos x="connsiteX1" y="connsiteY1"/>
              </a:cxn>
              <a:cxn ang="0">
                <a:pos x="connsiteX2" y="connsiteY2"/>
              </a:cxn>
              <a:cxn ang="0">
                <a:pos x="connsiteX3" y="connsiteY3"/>
              </a:cxn>
            </a:cxnLst>
            <a:rect l="l" t="t" r="r" b="b"/>
            <a:pathLst>
              <a:path w="388923" h="268456">
                <a:moveTo>
                  <a:pt x="233365" y="0"/>
                </a:moveTo>
                <a:lnTo>
                  <a:pt x="388923" y="0"/>
                </a:lnTo>
                <a:lnTo>
                  <a:pt x="388923" y="268456"/>
                </a:lnTo>
                <a:lnTo>
                  <a:pt x="0" y="268456"/>
                </a:lnTo>
                <a:close/>
              </a:path>
            </a:pathLst>
          </a:custGeom>
          <a:solidFill>
            <a:schemeClr val="accent4"/>
          </a:solidFill>
          <a:ln w="9525">
            <a:noFill/>
            <a:miter lim="800000"/>
            <a:headEnd/>
            <a:tailEnd/>
          </a:ln>
        </p:spPr>
        <p:txBody>
          <a:bodyPr wrap="square" lIns="96000" tIns="96000" rIns="96000" bIns="96000" rtlCol="0" anchor="ctr">
            <a:noAutofit/>
          </a:bodyPr>
          <a:lstStyle/>
          <a:p>
            <a:pPr lvl="0" algn="ctr" eaLnBrk="0" hangingPunct="0"/>
            <a:endParaRPr lang="en-US" sz="933" baseline="0" noProof="0" dirty="0">
              <a:latin typeface="+mn-lt"/>
              <a:ea typeface="+mn-ea"/>
              <a:cs typeface="+mn-cs"/>
            </a:endParaRPr>
          </a:p>
        </p:txBody>
      </p:sp>
      <p:sp>
        <p:nvSpPr>
          <p:cNvPr id="20" name="Deco Shape Left">
            <a:extLst>
              <a:ext uri="{FF2B5EF4-FFF2-40B4-BE49-F238E27FC236}">
                <a16:creationId xmlns:a16="http://schemas.microsoft.com/office/drawing/2014/main" id="{115C01C8-35B4-47DF-87EA-B41C01532174}"/>
              </a:ext>
            </a:extLst>
          </p:cNvPr>
          <p:cNvSpPr/>
          <p:nvPr>
            <p:custDataLst>
              <p:tags r:id="rId22"/>
            </p:custDataLst>
          </p:nvPr>
        </p:nvSpPr>
        <p:spPr bwMode="auto">
          <a:xfrm>
            <a:off x="10720771" y="6489341"/>
            <a:ext cx="1244253" cy="368660"/>
          </a:xfrm>
          <a:custGeom>
            <a:avLst/>
            <a:gdLst>
              <a:gd name="connsiteX0" fmla="*/ 0 w 933190"/>
              <a:gd name="connsiteY0" fmla="*/ 0 h 267494"/>
              <a:gd name="connsiteX1" fmla="*/ 933190 w 933190"/>
              <a:gd name="connsiteY1" fmla="*/ 0 h 267494"/>
              <a:gd name="connsiteX2" fmla="*/ 700660 w 933190"/>
              <a:gd name="connsiteY2" fmla="*/ 267494 h 267494"/>
              <a:gd name="connsiteX3" fmla="*/ 42367 w 933190"/>
              <a:gd name="connsiteY3" fmla="*/ 267494 h 267494"/>
            </a:gdLst>
            <a:ahLst/>
            <a:cxnLst>
              <a:cxn ang="0">
                <a:pos x="connsiteX0" y="connsiteY0"/>
              </a:cxn>
              <a:cxn ang="0">
                <a:pos x="connsiteX1" y="connsiteY1"/>
              </a:cxn>
              <a:cxn ang="0">
                <a:pos x="connsiteX2" y="connsiteY2"/>
              </a:cxn>
              <a:cxn ang="0">
                <a:pos x="connsiteX3" y="connsiteY3"/>
              </a:cxn>
            </a:cxnLst>
            <a:rect l="l" t="t" r="r" b="b"/>
            <a:pathLst>
              <a:path w="933190" h="267494">
                <a:moveTo>
                  <a:pt x="0" y="0"/>
                </a:moveTo>
                <a:lnTo>
                  <a:pt x="933190" y="0"/>
                </a:lnTo>
                <a:lnTo>
                  <a:pt x="700660" y="267494"/>
                </a:lnTo>
                <a:lnTo>
                  <a:pt x="42367" y="267494"/>
                </a:lnTo>
                <a:close/>
              </a:path>
            </a:pathLst>
          </a:custGeom>
          <a:solidFill>
            <a:schemeClr val="accent3"/>
          </a:solidFill>
          <a:ln w="9525">
            <a:noFill/>
            <a:miter lim="800000"/>
            <a:headEnd/>
            <a:tailEnd/>
          </a:ln>
        </p:spPr>
        <p:txBody>
          <a:bodyPr wrap="square" lIns="96000" tIns="96000" rIns="96000" bIns="96000" rtlCol="0" anchor="ctr">
            <a:noAutofit/>
          </a:bodyPr>
          <a:lstStyle/>
          <a:p>
            <a:pPr lvl="0" algn="ctr" eaLnBrk="0" hangingPunct="0"/>
            <a:endParaRPr lang="en-US" sz="900" baseline="0" noProof="0" dirty="0">
              <a:latin typeface="+mn-lt"/>
              <a:ea typeface="+mn-ea"/>
              <a:cs typeface="+mn-cs"/>
            </a:endParaRPr>
          </a:p>
        </p:txBody>
      </p:sp>
      <p:cxnSp>
        <p:nvCxnSpPr>
          <p:cNvPr id="18" name="Line Bottom">
            <a:extLst>
              <a:ext uri="{FF2B5EF4-FFF2-40B4-BE49-F238E27FC236}">
                <a16:creationId xmlns:a16="http://schemas.microsoft.com/office/drawing/2014/main" id="{50DF868B-BD2D-490A-A05B-F87011512922}"/>
              </a:ext>
            </a:extLst>
          </p:cNvPr>
          <p:cNvCxnSpPr>
            <a:cxnSpLocks/>
          </p:cNvCxnSpPr>
          <p:nvPr>
            <p:custDataLst>
              <p:tags r:id="rId23"/>
            </p:custDataLst>
          </p:nvPr>
        </p:nvCxnSpPr>
        <p:spPr>
          <a:xfrm>
            <a:off x="0" y="6489340"/>
            <a:ext cx="12193200" cy="0"/>
          </a:xfrm>
          <a:prstGeom prst="line">
            <a:avLst/>
          </a:prstGeom>
          <a:ln w="9525">
            <a:solidFill>
              <a:srgbClr val="B0A5A7"/>
            </a:solidFill>
            <a:tailEnd type="none"/>
          </a:ln>
        </p:spPr>
        <p:style>
          <a:lnRef idx="1">
            <a:schemeClr val="accent1"/>
          </a:lnRef>
          <a:fillRef idx="0">
            <a:schemeClr val="accent1"/>
          </a:fillRef>
          <a:effectRef idx="0">
            <a:schemeClr val="accent1"/>
          </a:effectRef>
          <a:fontRef idx="minor">
            <a:schemeClr val="tx1"/>
          </a:fontRef>
        </p:style>
      </p:cxnSp>
      <p:sp>
        <p:nvSpPr>
          <p:cNvPr id="5" name="Slide Number Placeholder">
            <a:extLst>
              <a:ext uri="{FF2B5EF4-FFF2-40B4-BE49-F238E27FC236}">
                <a16:creationId xmlns:a16="http://schemas.microsoft.com/office/drawing/2014/main" id="{372AE43B-8F10-43C8-8785-1E1CB85CFADE}"/>
              </a:ext>
            </a:extLst>
          </p:cNvPr>
          <p:cNvSpPr>
            <a:spLocks noGrp="1"/>
          </p:cNvSpPr>
          <p:nvPr>
            <p:ph type="sldNum" sz="quarter" idx="4"/>
          </p:nvPr>
        </p:nvSpPr>
        <p:spPr>
          <a:xfrm>
            <a:off x="11087355" y="6489341"/>
            <a:ext cx="384048" cy="361460"/>
          </a:xfrm>
          <a:prstGeom prst="rect">
            <a:avLst/>
          </a:prstGeom>
        </p:spPr>
        <p:txBody>
          <a:bodyPr vert="horz" wrap="none" lIns="0" tIns="0" rIns="0" bIns="0" rtlCol="0" anchor="ctr">
            <a:noAutofit/>
          </a:bodyPr>
          <a:lstStyle>
            <a:lvl1pPr algn="r" fontAlgn="t">
              <a:buClr>
                <a:srgbClr val="928285"/>
              </a:buClr>
              <a:defRPr sz="1200" b="0">
                <a:solidFill>
                  <a:srgbClr val="FFFFFF"/>
                </a:solidFill>
                <a:latin typeface="+mn-lt"/>
                <a:ea typeface="+mn-ea"/>
                <a:cs typeface="+mn-cs"/>
              </a:defRPr>
            </a:lvl1pPr>
          </a:lstStyle>
          <a:p>
            <a:fld id="{BA925C6C-614A-4D70-B313-7ADCEE25F184}" type="slidenum">
              <a:rPr lang="en-US" smtClean="0"/>
              <a:pPr/>
              <a:t>‹#›</a:t>
            </a:fld>
            <a:endParaRPr lang="en-US" dirty="0"/>
          </a:p>
        </p:txBody>
      </p:sp>
      <p:sp>
        <p:nvSpPr>
          <p:cNvPr id="7" name="Footer Placeholder">
            <a:extLst>
              <a:ext uri="{FF2B5EF4-FFF2-40B4-BE49-F238E27FC236}">
                <a16:creationId xmlns:a16="http://schemas.microsoft.com/office/drawing/2014/main" id="{4D268FD3-4056-49DC-8C79-D4C201EED65B}"/>
              </a:ext>
            </a:extLst>
          </p:cNvPr>
          <p:cNvSpPr>
            <a:spLocks noGrp="1"/>
          </p:cNvSpPr>
          <p:nvPr>
            <p:ph type="ftr" sz="quarter" idx="3"/>
            <p:custDataLst>
              <p:tags r:id="rId24"/>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700" b="0">
                <a:noFill/>
                <a:latin typeface="+mn-lt"/>
                <a:ea typeface="+mn-ea"/>
              </a:defRPr>
            </a:lvl1pPr>
          </a:lstStyle>
          <a:p>
            <a:endParaRPr lang="en-US" dirty="0"/>
          </a:p>
        </p:txBody>
      </p:sp>
      <p:cxnSp>
        <p:nvCxnSpPr>
          <p:cNvPr id="9" name="Line Top">
            <a:extLst>
              <a:ext uri="{FF2B5EF4-FFF2-40B4-BE49-F238E27FC236}">
                <a16:creationId xmlns:a16="http://schemas.microsoft.com/office/drawing/2014/main" id="{F58AA643-AEA6-4443-BCBC-495B84238BF5}"/>
              </a:ext>
            </a:extLst>
          </p:cNvPr>
          <p:cNvCxnSpPr>
            <a:cxnSpLocks/>
          </p:cNvCxnSpPr>
          <p:nvPr>
            <p:custDataLst>
              <p:tags r:id="rId25"/>
            </p:custDataLst>
          </p:nvPr>
        </p:nvCxnSpPr>
        <p:spPr>
          <a:xfrm>
            <a:off x="334434" y="908721"/>
            <a:ext cx="11521017" cy="0"/>
          </a:xfrm>
          <a:prstGeom prst="line">
            <a:avLst/>
          </a:prstGeom>
          <a:ln w="9525">
            <a:solidFill>
              <a:srgbClr val="B0A5A7"/>
            </a:solidFill>
            <a:tailEnd type="none"/>
          </a:ln>
        </p:spPr>
        <p:style>
          <a:lnRef idx="1">
            <a:schemeClr val="accent1"/>
          </a:lnRef>
          <a:fillRef idx="0">
            <a:schemeClr val="accent1"/>
          </a:fillRef>
          <a:effectRef idx="0">
            <a:schemeClr val="accent1"/>
          </a:effectRef>
          <a:fontRef idx="minor">
            <a:schemeClr val="tx1"/>
          </a:fontRef>
        </p:style>
      </p:cxn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6" name="Date Placeholder">
            <a:extLst>
              <a:ext uri="{FF2B5EF4-FFF2-40B4-BE49-F238E27FC236}">
                <a16:creationId xmlns:a16="http://schemas.microsoft.com/office/drawing/2014/main" id="{59032602-9911-40B1-9BF6-AFD731868C06}"/>
              </a:ext>
            </a:extLst>
          </p:cNvPr>
          <p:cNvSpPr>
            <a:spLocks noGrp="1"/>
          </p:cNvSpPr>
          <p:nvPr>
            <p:ph type="dt" sz="half" idx="2"/>
            <p:custDataLst>
              <p:tags r:id="rId26"/>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700" b="0">
                <a:noFill/>
                <a:latin typeface="+mn-lt"/>
                <a:ea typeface="+mn-ea"/>
              </a:defRPr>
            </a:lvl1pPr>
          </a:lstStyle>
          <a:p>
            <a:endParaRPr lang="en-US" b="1" dirty="0"/>
          </a:p>
        </p:txBody>
      </p:sp>
      <p:grpSp>
        <p:nvGrpSpPr>
          <p:cNvPr id="2" name="Logo">
            <a:extLst>
              <a:ext uri="{FF2B5EF4-FFF2-40B4-BE49-F238E27FC236}">
                <a16:creationId xmlns:a16="http://schemas.microsoft.com/office/drawing/2014/main" id="{09F6C2B3-52AF-4C87-8DA7-D88B6BD510D6}"/>
              </a:ext>
            </a:extLst>
          </p:cNvPr>
          <p:cNvGrpSpPr/>
          <p:nvPr/>
        </p:nvGrpSpPr>
        <p:grpSpPr>
          <a:xfrm>
            <a:off x="10659752" y="193689"/>
            <a:ext cx="1206736" cy="528057"/>
            <a:chOff x="10659752" y="193689"/>
            <a:chExt cx="1206736" cy="528057"/>
          </a:xfrm>
        </p:grpSpPr>
        <p:sp>
          <p:nvSpPr>
            <p:cNvPr id="10" name="Freeform: Shape 9">
              <a:extLst>
                <a:ext uri="{FF2B5EF4-FFF2-40B4-BE49-F238E27FC236}">
                  <a16:creationId xmlns:a16="http://schemas.microsoft.com/office/drawing/2014/main" id="{B481A94B-AD7D-4E10-A0F1-8388E7B440B1}"/>
                </a:ext>
              </a:extLst>
            </p:cNvPr>
            <p:cNvSpPr/>
            <p:nvPr/>
          </p:nvSpPr>
          <p:spPr>
            <a:xfrm>
              <a:off x="10819003" y="243412"/>
              <a:ext cx="932942" cy="305729"/>
            </a:xfrm>
            <a:custGeom>
              <a:avLst/>
              <a:gdLst>
                <a:gd name="connsiteX0" fmla="*/ 740052 w 932942"/>
                <a:gd name="connsiteY0" fmla="*/ 305729 h 305729"/>
                <a:gd name="connsiteX1" fmla="*/ 799239 w 932942"/>
                <a:gd name="connsiteY1" fmla="*/ 214181 h 305729"/>
                <a:gd name="connsiteX2" fmla="*/ 740052 w 932942"/>
                <a:gd name="connsiteY2" fmla="*/ 124761 h 305729"/>
                <a:gd name="connsiteX3" fmla="*/ 681717 w 932942"/>
                <a:gd name="connsiteY3" fmla="*/ 215032 h 305729"/>
                <a:gd name="connsiteX4" fmla="*/ 740052 w 932942"/>
                <a:gd name="connsiteY4" fmla="*/ 305729 h 305729"/>
                <a:gd name="connsiteX5" fmla="*/ 717910 w 932942"/>
                <a:gd name="connsiteY5" fmla="*/ 213755 h 305729"/>
                <a:gd name="connsiteX6" fmla="*/ 740052 w 932942"/>
                <a:gd name="connsiteY6" fmla="*/ 155419 h 305729"/>
                <a:gd name="connsiteX7" fmla="*/ 763046 w 932942"/>
                <a:gd name="connsiteY7" fmla="*/ 214606 h 305729"/>
                <a:gd name="connsiteX8" fmla="*/ 740904 w 932942"/>
                <a:gd name="connsiteY8" fmla="*/ 275923 h 305729"/>
                <a:gd name="connsiteX9" fmla="*/ 717910 w 932942"/>
                <a:gd name="connsiteY9" fmla="*/ 213755 h 305729"/>
                <a:gd name="connsiteX10" fmla="*/ 608904 w 932942"/>
                <a:gd name="connsiteY10" fmla="*/ 305729 h 305729"/>
                <a:gd name="connsiteX11" fmla="*/ 657871 w 932942"/>
                <a:gd name="connsiteY11" fmla="*/ 282735 h 305729"/>
                <a:gd name="connsiteX12" fmla="*/ 644671 w 932942"/>
                <a:gd name="connsiteY12" fmla="*/ 258039 h 305729"/>
                <a:gd name="connsiteX13" fmla="*/ 611884 w 932942"/>
                <a:gd name="connsiteY13" fmla="*/ 275071 h 305729"/>
                <a:gd name="connsiteX14" fmla="*/ 588039 w 932942"/>
                <a:gd name="connsiteY14" fmla="*/ 258890 h 305729"/>
                <a:gd name="connsiteX15" fmla="*/ 582929 w 932942"/>
                <a:gd name="connsiteY15" fmla="*/ 228658 h 305729"/>
                <a:gd name="connsiteX16" fmla="*/ 582929 w 932942"/>
                <a:gd name="connsiteY16" fmla="*/ 225252 h 305729"/>
                <a:gd name="connsiteX17" fmla="*/ 659575 w 932942"/>
                <a:gd name="connsiteY17" fmla="*/ 225252 h 305729"/>
                <a:gd name="connsiteX18" fmla="*/ 659575 w 932942"/>
                <a:gd name="connsiteY18" fmla="*/ 217587 h 305729"/>
                <a:gd name="connsiteX19" fmla="*/ 642968 w 932942"/>
                <a:gd name="connsiteY19" fmla="*/ 143071 h 305729"/>
                <a:gd name="connsiteX20" fmla="*/ 604645 w 932942"/>
                <a:gd name="connsiteY20" fmla="*/ 124761 h 305729"/>
                <a:gd name="connsiteX21" fmla="*/ 563342 w 932942"/>
                <a:gd name="connsiteY21" fmla="*/ 147329 h 305729"/>
                <a:gd name="connsiteX22" fmla="*/ 547587 w 932942"/>
                <a:gd name="connsiteY22" fmla="*/ 215032 h 305729"/>
                <a:gd name="connsiteX23" fmla="*/ 608904 w 932942"/>
                <a:gd name="connsiteY23" fmla="*/ 305729 h 305729"/>
                <a:gd name="connsiteX24" fmla="*/ 605071 w 932942"/>
                <a:gd name="connsiteY24" fmla="*/ 152865 h 305729"/>
                <a:gd name="connsiteX25" fmla="*/ 622104 w 932942"/>
                <a:gd name="connsiteY25" fmla="*/ 165213 h 305729"/>
                <a:gd name="connsiteX26" fmla="*/ 625936 w 932942"/>
                <a:gd name="connsiteY26" fmla="*/ 197148 h 305729"/>
                <a:gd name="connsiteX27" fmla="*/ 582929 w 932942"/>
                <a:gd name="connsiteY27" fmla="*/ 197148 h 305729"/>
                <a:gd name="connsiteX28" fmla="*/ 605071 w 932942"/>
                <a:gd name="connsiteY28" fmla="*/ 152865 h 305729"/>
                <a:gd name="connsiteX29" fmla="*/ 827342 w 932942"/>
                <a:gd name="connsiteY29" fmla="*/ 301471 h 305729"/>
                <a:gd name="connsiteX30" fmla="*/ 860555 w 932942"/>
                <a:gd name="connsiteY30" fmla="*/ 301471 h 305729"/>
                <a:gd name="connsiteX31" fmla="*/ 860555 w 932942"/>
                <a:gd name="connsiteY31" fmla="*/ 173729 h 305729"/>
                <a:gd name="connsiteX32" fmla="*/ 884826 w 932942"/>
                <a:gd name="connsiteY32" fmla="*/ 158400 h 305729"/>
                <a:gd name="connsiteX33" fmla="*/ 895897 w 932942"/>
                <a:gd name="connsiteY33" fmla="*/ 162658 h 305729"/>
                <a:gd name="connsiteX34" fmla="*/ 899730 w 932942"/>
                <a:gd name="connsiteY34" fmla="*/ 185226 h 305729"/>
                <a:gd name="connsiteX35" fmla="*/ 899730 w 932942"/>
                <a:gd name="connsiteY35" fmla="*/ 301471 h 305729"/>
                <a:gd name="connsiteX36" fmla="*/ 932942 w 932942"/>
                <a:gd name="connsiteY36" fmla="*/ 301471 h 305729"/>
                <a:gd name="connsiteX37" fmla="*/ 932942 w 932942"/>
                <a:gd name="connsiteY37" fmla="*/ 169897 h 305729"/>
                <a:gd name="connsiteX38" fmla="*/ 924852 w 932942"/>
                <a:gd name="connsiteY38" fmla="*/ 138387 h 305729"/>
                <a:gd name="connsiteX39" fmla="*/ 897601 w 932942"/>
                <a:gd name="connsiteY39" fmla="*/ 126039 h 305729"/>
                <a:gd name="connsiteX40" fmla="*/ 858000 w 932942"/>
                <a:gd name="connsiteY40" fmla="*/ 145200 h 305729"/>
                <a:gd name="connsiteX41" fmla="*/ 853742 w 932942"/>
                <a:gd name="connsiteY41" fmla="*/ 124761 h 305729"/>
                <a:gd name="connsiteX42" fmla="*/ 822659 w 932942"/>
                <a:gd name="connsiteY42" fmla="*/ 132852 h 305729"/>
                <a:gd name="connsiteX43" fmla="*/ 826917 w 932942"/>
                <a:gd name="connsiteY43" fmla="*/ 174581 h 305729"/>
                <a:gd name="connsiteX44" fmla="*/ 826917 w 932942"/>
                <a:gd name="connsiteY44" fmla="*/ 301471 h 305729"/>
                <a:gd name="connsiteX45" fmla="*/ 441562 w 932942"/>
                <a:gd name="connsiteY45" fmla="*/ 145200 h 305729"/>
                <a:gd name="connsiteX46" fmla="*/ 437304 w 932942"/>
                <a:gd name="connsiteY46" fmla="*/ 124761 h 305729"/>
                <a:gd name="connsiteX47" fmla="*/ 406220 w 932942"/>
                <a:gd name="connsiteY47" fmla="*/ 132852 h 305729"/>
                <a:gd name="connsiteX48" fmla="*/ 410478 w 932942"/>
                <a:gd name="connsiteY48" fmla="*/ 174581 h 305729"/>
                <a:gd name="connsiteX49" fmla="*/ 410478 w 932942"/>
                <a:gd name="connsiteY49" fmla="*/ 301045 h 305729"/>
                <a:gd name="connsiteX50" fmla="*/ 443691 w 932942"/>
                <a:gd name="connsiteY50" fmla="*/ 301045 h 305729"/>
                <a:gd name="connsiteX51" fmla="*/ 443691 w 932942"/>
                <a:gd name="connsiteY51" fmla="*/ 173303 h 305729"/>
                <a:gd name="connsiteX52" fmla="*/ 467962 w 932942"/>
                <a:gd name="connsiteY52" fmla="*/ 157974 h 305729"/>
                <a:gd name="connsiteX53" fmla="*/ 479033 w 932942"/>
                <a:gd name="connsiteY53" fmla="*/ 162232 h 305729"/>
                <a:gd name="connsiteX54" fmla="*/ 482865 w 932942"/>
                <a:gd name="connsiteY54" fmla="*/ 184800 h 305729"/>
                <a:gd name="connsiteX55" fmla="*/ 482865 w 932942"/>
                <a:gd name="connsiteY55" fmla="*/ 301045 h 305729"/>
                <a:gd name="connsiteX56" fmla="*/ 516078 w 932942"/>
                <a:gd name="connsiteY56" fmla="*/ 301045 h 305729"/>
                <a:gd name="connsiteX57" fmla="*/ 516078 w 932942"/>
                <a:gd name="connsiteY57" fmla="*/ 169897 h 305729"/>
                <a:gd name="connsiteX58" fmla="*/ 507987 w 932942"/>
                <a:gd name="connsiteY58" fmla="*/ 138387 h 305729"/>
                <a:gd name="connsiteX59" fmla="*/ 480736 w 932942"/>
                <a:gd name="connsiteY59" fmla="*/ 126039 h 305729"/>
                <a:gd name="connsiteX60" fmla="*/ 441562 w 932942"/>
                <a:gd name="connsiteY60" fmla="*/ 145200 h 305729"/>
                <a:gd name="connsiteX61" fmla="*/ 35342 w 932942"/>
                <a:gd name="connsiteY61" fmla="*/ 70684 h 305729"/>
                <a:gd name="connsiteX62" fmla="*/ 70684 w 932942"/>
                <a:gd name="connsiteY62" fmla="*/ 35342 h 305729"/>
                <a:gd name="connsiteX63" fmla="*/ 35342 w 932942"/>
                <a:gd name="connsiteY63" fmla="*/ 0 h 305729"/>
                <a:gd name="connsiteX64" fmla="*/ 0 w 932942"/>
                <a:gd name="connsiteY64" fmla="*/ 35342 h 305729"/>
                <a:gd name="connsiteX65" fmla="*/ 35342 w 932942"/>
                <a:gd name="connsiteY65" fmla="*/ 70684 h 305729"/>
                <a:gd name="connsiteX66" fmla="*/ 198426 w 932942"/>
                <a:gd name="connsiteY66" fmla="*/ 301471 h 305729"/>
                <a:gd name="connsiteX67" fmla="*/ 198426 w 932942"/>
                <a:gd name="connsiteY67" fmla="*/ 169897 h 305729"/>
                <a:gd name="connsiteX68" fmla="*/ 190336 w 932942"/>
                <a:gd name="connsiteY68" fmla="*/ 138387 h 305729"/>
                <a:gd name="connsiteX69" fmla="*/ 163084 w 932942"/>
                <a:gd name="connsiteY69" fmla="*/ 126039 h 305729"/>
                <a:gd name="connsiteX70" fmla="*/ 123484 w 932942"/>
                <a:gd name="connsiteY70" fmla="*/ 145200 h 305729"/>
                <a:gd name="connsiteX71" fmla="*/ 119226 w 932942"/>
                <a:gd name="connsiteY71" fmla="*/ 124761 h 305729"/>
                <a:gd name="connsiteX72" fmla="*/ 88568 w 932942"/>
                <a:gd name="connsiteY72" fmla="*/ 133277 h 305729"/>
                <a:gd name="connsiteX73" fmla="*/ 92826 w 932942"/>
                <a:gd name="connsiteY73" fmla="*/ 175006 h 305729"/>
                <a:gd name="connsiteX74" fmla="*/ 92826 w 932942"/>
                <a:gd name="connsiteY74" fmla="*/ 301471 h 305729"/>
                <a:gd name="connsiteX75" fmla="*/ 126039 w 932942"/>
                <a:gd name="connsiteY75" fmla="*/ 301471 h 305729"/>
                <a:gd name="connsiteX76" fmla="*/ 126039 w 932942"/>
                <a:gd name="connsiteY76" fmla="*/ 173729 h 305729"/>
                <a:gd name="connsiteX77" fmla="*/ 150310 w 932942"/>
                <a:gd name="connsiteY77" fmla="*/ 158400 h 305729"/>
                <a:gd name="connsiteX78" fmla="*/ 161381 w 932942"/>
                <a:gd name="connsiteY78" fmla="*/ 162658 h 305729"/>
                <a:gd name="connsiteX79" fmla="*/ 165213 w 932942"/>
                <a:gd name="connsiteY79" fmla="*/ 185226 h 305729"/>
                <a:gd name="connsiteX80" fmla="*/ 165213 w 932942"/>
                <a:gd name="connsiteY80" fmla="*/ 301471 h 305729"/>
                <a:gd name="connsiteX81" fmla="*/ 198426 w 932942"/>
                <a:gd name="connsiteY81" fmla="*/ 301471 h 305729"/>
                <a:gd name="connsiteX82" fmla="*/ 351291 w 932942"/>
                <a:gd name="connsiteY82" fmla="*/ 61316 h 305729"/>
                <a:gd name="connsiteX83" fmla="*/ 329149 w 932942"/>
                <a:gd name="connsiteY83" fmla="*/ 83458 h 305729"/>
                <a:gd name="connsiteX84" fmla="*/ 350865 w 932942"/>
                <a:gd name="connsiteY84" fmla="*/ 105600 h 305729"/>
                <a:gd name="connsiteX85" fmla="*/ 373007 w 932942"/>
                <a:gd name="connsiteY85" fmla="*/ 83458 h 305729"/>
                <a:gd name="connsiteX86" fmla="*/ 351291 w 932942"/>
                <a:gd name="connsiteY86" fmla="*/ 61316 h 305729"/>
                <a:gd name="connsiteX87" fmla="*/ 19587 w 932942"/>
                <a:gd name="connsiteY87" fmla="*/ 301471 h 305729"/>
                <a:gd name="connsiteX88" fmla="*/ 52800 w 932942"/>
                <a:gd name="connsiteY88" fmla="*/ 301471 h 305729"/>
                <a:gd name="connsiteX89" fmla="*/ 52800 w 932942"/>
                <a:gd name="connsiteY89" fmla="*/ 94103 h 305729"/>
                <a:gd name="connsiteX90" fmla="*/ 19587 w 932942"/>
                <a:gd name="connsiteY90" fmla="*/ 98361 h 305729"/>
                <a:gd name="connsiteX91" fmla="*/ 19587 w 932942"/>
                <a:gd name="connsiteY91" fmla="*/ 301471 h 305729"/>
                <a:gd name="connsiteX92" fmla="*/ 290826 w 932942"/>
                <a:gd name="connsiteY92" fmla="*/ 81755 h 305729"/>
                <a:gd name="connsiteX93" fmla="*/ 306581 w 932942"/>
                <a:gd name="connsiteY93" fmla="*/ 86865 h 305729"/>
                <a:gd name="connsiteX94" fmla="*/ 315949 w 932942"/>
                <a:gd name="connsiteY94" fmla="*/ 60890 h 305729"/>
                <a:gd name="connsiteX95" fmla="*/ 284865 w 932942"/>
                <a:gd name="connsiteY95" fmla="*/ 51523 h 305729"/>
                <a:gd name="connsiteX96" fmla="*/ 259316 w 932942"/>
                <a:gd name="connsiteY96" fmla="*/ 60039 h 305729"/>
                <a:gd name="connsiteX97" fmla="*/ 242710 w 932942"/>
                <a:gd name="connsiteY97" fmla="*/ 106026 h 305729"/>
                <a:gd name="connsiteX98" fmla="*/ 243136 w 932942"/>
                <a:gd name="connsiteY98" fmla="*/ 128594 h 305729"/>
                <a:gd name="connsiteX99" fmla="*/ 231639 w 932942"/>
                <a:gd name="connsiteY99" fmla="*/ 128594 h 305729"/>
                <a:gd name="connsiteX100" fmla="*/ 231639 w 932942"/>
                <a:gd name="connsiteY100" fmla="*/ 157974 h 305729"/>
                <a:gd name="connsiteX101" fmla="*/ 243136 w 932942"/>
                <a:gd name="connsiteY101" fmla="*/ 157974 h 305729"/>
                <a:gd name="connsiteX102" fmla="*/ 243136 w 932942"/>
                <a:gd name="connsiteY102" fmla="*/ 301045 h 305729"/>
                <a:gd name="connsiteX103" fmla="*/ 277200 w 932942"/>
                <a:gd name="connsiteY103" fmla="*/ 301045 h 305729"/>
                <a:gd name="connsiteX104" fmla="*/ 277200 w 932942"/>
                <a:gd name="connsiteY104" fmla="*/ 158400 h 305729"/>
                <a:gd name="connsiteX105" fmla="*/ 302323 w 932942"/>
                <a:gd name="connsiteY105" fmla="*/ 158400 h 305729"/>
                <a:gd name="connsiteX106" fmla="*/ 308710 w 932942"/>
                <a:gd name="connsiteY106" fmla="*/ 129019 h 305729"/>
                <a:gd name="connsiteX107" fmla="*/ 277626 w 932942"/>
                <a:gd name="connsiteY107" fmla="*/ 129019 h 305729"/>
                <a:gd name="connsiteX108" fmla="*/ 277626 w 932942"/>
                <a:gd name="connsiteY108" fmla="*/ 102619 h 305729"/>
                <a:gd name="connsiteX109" fmla="*/ 290826 w 932942"/>
                <a:gd name="connsiteY109" fmla="*/ 81755 h 305729"/>
                <a:gd name="connsiteX110" fmla="*/ 334258 w 932942"/>
                <a:gd name="connsiteY110" fmla="*/ 301471 h 305729"/>
                <a:gd name="connsiteX111" fmla="*/ 367897 w 932942"/>
                <a:gd name="connsiteY111" fmla="*/ 301471 h 305729"/>
                <a:gd name="connsiteX112" fmla="*/ 367897 w 932942"/>
                <a:gd name="connsiteY112" fmla="*/ 126039 h 305729"/>
                <a:gd name="connsiteX113" fmla="*/ 334258 w 932942"/>
                <a:gd name="connsiteY113" fmla="*/ 130297 h 305729"/>
                <a:gd name="connsiteX114" fmla="*/ 334258 w 932942"/>
                <a:gd name="connsiteY114" fmla="*/ 301471 h 30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932942" h="305729">
                  <a:moveTo>
                    <a:pt x="740052" y="305729"/>
                  </a:moveTo>
                  <a:cubicBezTo>
                    <a:pt x="785188" y="305729"/>
                    <a:pt x="799239" y="258039"/>
                    <a:pt x="799239" y="214181"/>
                  </a:cubicBezTo>
                  <a:cubicBezTo>
                    <a:pt x="799239" y="155419"/>
                    <a:pt x="774542" y="124761"/>
                    <a:pt x="740052" y="124761"/>
                  </a:cubicBezTo>
                  <a:cubicBezTo>
                    <a:pt x="696620" y="124761"/>
                    <a:pt x="681291" y="172452"/>
                    <a:pt x="681717" y="215032"/>
                  </a:cubicBezTo>
                  <a:cubicBezTo>
                    <a:pt x="682142" y="257187"/>
                    <a:pt x="694065" y="305729"/>
                    <a:pt x="740052" y="305729"/>
                  </a:cubicBezTo>
                  <a:close/>
                  <a:moveTo>
                    <a:pt x="717910" y="213755"/>
                  </a:moveTo>
                  <a:cubicBezTo>
                    <a:pt x="717910" y="196297"/>
                    <a:pt x="717910" y="155419"/>
                    <a:pt x="740052" y="155419"/>
                  </a:cubicBezTo>
                  <a:cubicBezTo>
                    <a:pt x="763897" y="155419"/>
                    <a:pt x="763046" y="195871"/>
                    <a:pt x="763046" y="214606"/>
                  </a:cubicBezTo>
                  <a:cubicBezTo>
                    <a:pt x="763046" y="232490"/>
                    <a:pt x="763046" y="275923"/>
                    <a:pt x="740904" y="275923"/>
                  </a:cubicBezTo>
                  <a:cubicBezTo>
                    <a:pt x="717059" y="275497"/>
                    <a:pt x="717910" y="232065"/>
                    <a:pt x="717910" y="213755"/>
                  </a:cubicBezTo>
                  <a:close/>
                  <a:moveTo>
                    <a:pt x="608904" y="305729"/>
                  </a:moveTo>
                  <a:cubicBezTo>
                    <a:pt x="627213" y="305729"/>
                    <a:pt x="642968" y="298490"/>
                    <a:pt x="657871" y="282735"/>
                  </a:cubicBezTo>
                  <a:lnTo>
                    <a:pt x="644671" y="258039"/>
                  </a:lnTo>
                  <a:cubicBezTo>
                    <a:pt x="634452" y="269110"/>
                    <a:pt x="624233" y="275071"/>
                    <a:pt x="611884" y="275071"/>
                  </a:cubicBezTo>
                  <a:cubicBezTo>
                    <a:pt x="601665" y="275071"/>
                    <a:pt x="593149" y="269110"/>
                    <a:pt x="588039" y="258890"/>
                  </a:cubicBezTo>
                  <a:cubicBezTo>
                    <a:pt x="583781" y="249948"/>
                    <a:pt x="582929" y="239729"/>
                    <a:pt x="582929" y="228658"/>
                  </a:cubicBezTo>
                  <a:lnTo>
                    <a:pt x="582929" y="225252"/>
                  </a:lnTo>
                  <a:lnTo>
                    <a:pt x="659575" y="225252"/>
                  </a:lnTo>
                  <a:lnTo>
                    <a:pt x="659575" y="217587"/>
                  </a:lnTo>
                  <a:cubicBezTo>
                    <a:pt x="659575" y="179690"/>
                    <a:pt x="654891" y="158826"/>
                    <a:pt x="642968" y="143071"/>
                  </a:cubicBezTo>
                  <a:cubicBezTo>
                    <a:pt x="634026" y="131148"/>
                    <a:pt x="620826" y="124761"/>
                    <a:pt x="604645" y="124761"/>
                  </a:cubicBezTo>
                  <a:cubicBezTo>
                    <a:pt x="587613" y="124761"/>
                    <a:pt x="573562" y="132426"/>
                    <a:pt x="563342" y="147329"/>
                  </a:cubicBezTo>
                  <a:cubicBezTo>
                    <a:pt x="552271" y="163510"/>
                    <a:pt x="547587" y="185226"/>
                    <a:pt x="547587" y="215032"/>
                  </a:cubicBezTo>
                  <a:cubicBezTo>
                    <a:pt x="547162" y="272090"/>
                    <a:pt x="569729" y="305729"/>
                    <a:pt x="608904" y="305729"/>
                  </a:cubicBezTo>
                  <a:close/>
                  <a:moveTo>
                    <a:pt x="605071" y="152865"/>
                  </a:moveTo>
                  <a:cubicBezTo>
                    <a:pt x="613587" y="152865"/>
                    <a:pt x="618697" y="157548"/>
                    <a:pt x="622104" y="165213"/>
                  </a:cubicBezTo>
                  <a:cubicBezTo>
                    <a:pt x="624658" y="172026"/>
                    <a:pt x="625936" y="183523"/>
                    <a:pt x="625936" y="197148"/>
                  </a:cubicBezTo>
                  <a:lnTo>
                    <a:pt x="582929" y="197148"/>
                  </a:lnTo>
                  <a:cubicBezTo>
                    <a:pt x="583355" y="166916"/>
                    <a:pt x="589742" y="152865"/>
                    <a:pt x="605071" y="152865"/>
                  </a:cubicBezTo>
                  <a:close/>
                  <a:moveTo>
                    <a:pt x="827342" y="301471"/>
                  </a:moveTo>
                  <a:lnTo>
                    <a:pt x="860555" y="301471"/>
                  </a:lnTo>
                  <a:lnTo>
                    <a:pt x="860555" y="173729"/>
                  </a:lnTo>
                  <a:cubicBezTo>
                    <a:pt x="868646" y="163935"/>
                    <a:pt x="878013" y="158400"/>
                    <a:pt x="884826" y="158400"/>
                  </a:cubicBezTo>
                  <a:cubicBezTo>
                    <a:pt x="889084" y="158400"/>
                    <a:pt x="893342" y="159252"/>
                    <a:pt x="895897" y="162658"/>
                  </a:cubicBezTo>
                  <a:cubicBezTo>
                    <a:pt x="898452" y="166490"/>
                    <a:pt x="899730" y="172026"/>
                    <a:pt x="899730" y="185226"/>
                  </a:cubicBezTo>
                  <a:lnTo>
                    <a:pt x="899730" y="301471"/>
                  </a:lnTo>
                  <a:lnTo>
                    <a:pt x="932942" y="301471"/>
                  </a:lnTo>
                  <a:lnTo>
                    <a:pt x="932942" y="169897"/>
                  </a:lnTo>
                  <a:cubicBezTo>
                    <a:pt x="932942" y="158400"/>
                    <a:pt x="931665" y="146903"/>
                    <a:pt x="924852" y="138387"/>
                  </a:cubicBezTo>
                  <a:cubicBezTo>
                    <a:pt x="918891" y="130723"/>
                    <a:pt x="909523" y="126039"/>
                    <a:pt x="897601" y="126039"/>
                  </a:cubicBezTo>
                  <a:cubicBezTo>
                    <a:pt x="882272" y="126039"/>
                    <a:pt x="866517" y="134981"/>
                    <a:pt x="858000" y="145200"/>
                  </a:cubicBezTo>
                  <a:cubicBezTo>
                    <a:pt x="857575" y="136258"/>
                    <a:pt x="854594" y="127742"/>
                    <a:pt x="853742" y="124761"/>
                  </a:cubicBezTo>
                  <a:lnTo>
                    <a:pt x="822659" y="132852"/>
                  </a:lnTo>
                  <a:cubicBezTo>
                    <a:pt x="824362" y="142219"/>
                    <a:pt x="826917" y="153716"/>
                    <a:pt x="826917" y="174581"/>
                  </a:cubicBezTo>
                  <a:lnTo>
                    <a:pt x="826917" y="301471"/>
                  </a:lnTo>
                  <a:close/>
                  <a:moveTo>
                    <a:pt x="441562" y="145200"/>
                  </a:moveTo>
                  <a:cubicBezTo>
                    <a:pt x="441136" y="136258"/>
                    <a:pt x="438155" y="127742"/>
                    <a:pt x="437304" y="124761"/>
                  </a:cubicBezTo>
                  <a:lnTo>
                    <a:pt x="406220" y="132852"/>
                  </a:lnTo>
                  <a:cubicBezTo>
                    <a:pt x="407923" y="142219"/>
                    <a:pt x="410478" y="153716"/>
                    <a:pt x="410478" y="174581"/>
                  </a:cubicBezTo>
                  <a:lnTo>
                    <a:pt x="410478" y="301045"/>
                  </a:lnTo>
                  <a:lnTo>
                    <a:pt x="443691" y="301045"/>
                  </a:lnTo>
                  <a:lnTo>
                    <a:pt x="443691" y="173303"/>
                  </a:lnTo>
                  <a:cubicBezTo>
                    <a:pt x="451781" y="163510"/>
                    <a:pt x="461149" y="157974"/>
                    <a:pt x="467962" y="157974"/>
                  </a:cubicBezTo>
                  <a:cubicBezTo>
                    <a:pt x="472220" y="157974"/>
                    <a:pt x="476478" y="158826"/>
                    <a:pt x="479033" y="162232"/>
                  </a:cubicBezTo>
                  <a:cubicBezTo>
                    <a:pt x="481587" y="166065"/>
                    <a:pt x="482865" y="171600"/>
                    <a:pt x="482865" y="184800"/>
                  </a:cubicBezTo>
                  <a:lnTo>
                    <a:pt x="482865" y="301045"/>
                  </a:lnTo>
                  <a:lnTo>
                    <a:pt x="516078" y="301045"/>
                  </a:lnTo>
                  <a:lnTo>
                    <a:pt x="516078" y="169897"/>
                  </a:lnTo>
                  <a:cubicBezTo>
                    <a:pt x="516078" y="158400"/>
                    <a:pt x="514800" y="146903"/>
                    <a:pt x="507987" y="138387"/>
                  </a:cubicBezTo>
                  <a:cubicBezTo>
                    <a:pt x="502026" y="130723"/>
                    <a:pt x="492658" y="126039"/>
                    <a:pt x="480736" y="126039"/>
                  </a:cubicBezTo>
                  <a:cubicBezTo>
                    <a:pt x="465833" y="126039"/>
                    <a:pt x="450078" y="134981"/>
                    <a:pt x="441562" y="145200"/>
                  </a:cubicBezTo>
                  <a:close/>
                  <a:moveTo>
                    <a:pt x="35342" y="70684"/>
                  </a:moveTo>
                  <a:cubicBezTo>
                    <a:pt x="54929" y="70684"/>
                    <a:pt x="70684" y="54929"/>
                    <a:pt x="70684" y="35342"/>
                  </a:cubicBezTo>
                  <a:cubicBezTo>
                    <a:pt x="70684" y="15755"/>
                    <a:pt x="54929" y="0"/>
                    <a:pt x="35342" y="0"/>
                  </a:cubicBezTo>
                  <a:cubicBezTo>
                    <a:pt x="15755" y="0"/>
                    <a:pt x="0" y="15755"/>
                    <a:pt x="0" y="35342"/>
                  </a:cubicBezTo>
                  <a:cubicBezTo>
                    <a:pt x="0" y="54929"/>
                    <a:pt x="15755" y="70684"/>
                    <a:pt x="35342" y="70684"/>
                  </a:cubicBezTo>
                  <a:close/>
                  <a:moveTo>
                    <a:pt x="198426" y="301471"/>
                  </a:moveTo>
                  <a:lnTo>
                    <a:pt x="198426" y="169897"/>
                  </a:lnTo>
                  <a:cubicBezTo>
                    <a:pt x="198426" y="158400"/>
                    <a:pt x="197148" y="146903"/>
                    <a:pt x="190336" y="138387"/>
                  </a:cubicBezTo>
                  <a:cubicBezTo>
                    <a:pt x="184374" y="130723"/>
                    <a:pt x="175007" y="126039"/>
                    <a:pt x="163084" y="126039"/>
                  </a:cubicBezTo>
                  <a:cubicBezTo>
                    <a:pt x="147755" y="126039"/>
                    <a:pt x="132000" y="134981"/>
                    <a:pt x="123484" y="145200"/>
                  </a:cubicBezTo>
                  <a:cubicBezTo>
                    <a:pt x="123058" y="136258"/>
                    <a:pt x="120077" y="127742"/>
                    <a:pt x="119226" y="124761"/>
                  </a:cubicBezTo>
                  <a:lnTo>
                    <a:pt x="88568" y="133277"/>
                  </a:lnTo>
                  <a:cubicBezTo>
                    <a:pt x="90271" y="142645"/>
                    <a:pt x="92826" y="154142"/>
                    <a:pt x="92826" y="175006"/>
                  </a:cubicBezTo>
                  <a:lnTo>
                    <a:pt x="92826" y="301471"/>
                  </a:lnTo>
                  <a:lnTo>
                    <a:pt x="126039" y="301471"/>
                  </a:lnTo>
                  <a:lnTo>
                    <a:pt x="126039" y="173729"/>
                  </a:lnTo>
                  <a:cubicBezTo>
                    <a:pt x="134129" y="163935"/>
                    <a:pt x="143497" y="158400"/>
                    <a:pt x="150310" y="158400"/>
                  </a:cubicBezTo>
                  <a:cubicBezTo>
                    <a:pt x="154568" y="158400"/>
                    <a:pt x="158826" y="159252"/>
                    <a:pt x="161381" y="162658"/>
                  </a:cubicBezTo>
                  <a:cubicBezTo>
                    <a:pt x="163936" y="166490"/>
                    <a:pt x="165213" y="172026"/>
                    <a:pt x="165213" y="185226"/>
                  </a:cubicBezTo>
                  <a:lnTo>
                    <a:pt x="165213" y="301471"/>
                  </a:lnTo>
                  <a:lnTo>
                    <a:pt x="198426" y="301471"/>
                  </a:lnTo>
                  <a:close/>
                  <a:moveTo>
                    <a:pt x="351291" y="61316"/>
                  </a:moveTo>
                  <a:cubicBezTo>
                    <a:pt x="338942" y="61316"/>
                    <a:pt x="329149" y="71110"/>
                    <a:pt x="329149" y="83458"/>
                  </a:cubicBezTo>
                  <a:cubicBezTo>
                    <a:pt x="329149" y="95806"/>
                    <a:pt x="338942" y="105600"/>
                    <a:pt x="350865" y="105600"/>
                  </a:cubicBezTo>
                  <a:cubicBezTo>
                    <a:pt x="363213" y="105600"/>
                    <a:pt x="373007" y="95806"/>
                    <a:pt x="373007" y="83458"/>
                  </a:cubicBezTo>
                  <a:cubicBezTo>
                    <a:pt x="373007" y="71110"/>
                    <a:pt x="363213" y="61316"/>
                    <a:pt x="351291" y="61316"/>
                  </a:cubicBezTo>
                  <a:close/>
                  <a:moveTo>
                    <a:pt x="19587" y="301471"/>
                  </a:moveTo>
                  <a:lnTo>
                    <a:pt x="52800" y="301471"/>
                  </a:lnTo>
                  <a:lnTo>
                    <a:pt x="52800" y="94103"/>
                  </a:lnTo>
                  <a:lnTo>
                    <a:pt x="19587" y="98361"/>
                  </a:lnTo>
                  <a:lnTo>
                    <a:pt x="19587" y="301471"/>
                  </a:lnTo>
                  <a:close/>
                  <a:moveTo>
                    <a:pt x="290826" y="81755"/>
                  </a:moveTo>
                  <a:cubicBezTo>
                    <a:pt x="296787" y="81755"/>
                    <a:pt x="302749" y="83884"/>
                    <a:pt x="306581" y="86865"/>
                  </a:cubicBezTo>
                  <a:lnTo>
                    <a:pt x="315949" y="60890"/>
                  </a:lnTo>
                  <a:cubicBezTo>
                    <a:pt x="307007" y="54503"/>
                    <a:pt x="297213" y="51523"/>
                    <a:pt x="284865" y="51523"/>
                  </a:cubicBezTo>
                  <a:cubicBezTo>
                    <a:pt x="276349" y="51523"/>
                    <a:pt x="267407" y="53652"/>
                    <a:pt x="259316" y="60039"/>
                  </a:cubicBezTo>
                  <a:cubicBezTo>
                    <a:pt x="251226" y="66852"/>
                    <a:pt x="242710" y="80477"/>
                    <a:pt x="242710" y="106026"/>
                  </a:cubicBezTo>
                  <a:cubicBezTo>
                    <a:pt x="242710" y="117097"/>
                    <a:pt x="243136" y="128594"/>
                    <a:pt x="243136" y="128594"/>
                  </a:cubicBezTo>
                  <a:lnTo>
                    <a:pt x="231639" y="128594"/>
                  </a:lnTo>
                  <a:lnTo>
                    <a:pt x="231639" y="157974"/>
                  </a:lnTo>
                  <a:lnTo>
                    <a:pt x="243136" y="157974"/>
                  </a:lnTo>
                  <a:lnTo>
                    <a:pt x="243136" y="301045"/>
                  </a:lnTo>
                  <a:lnTo>
                    <a:pt x="277200" y="301045"/>
                  </a:lnTo>
                  <a:lnTo>
                    <a:pt x="277200" y="158400"/>
                  </a:lnTo>
                  <a:lnTo>
                    <a:pt x="302323" y="158400"/>
                  </a:lnTo>
                  <a:lnTo>
                    <a:pt x="308710" y="129019"/>
                  </a:lnTo>
                  <a:lnTo>
                    <a:pt x="277626" y="129019"/>
                  </a:lnTo>
                  <a:lnTo>
                    <a:pt x="277626" y="102619"/>
                  </a:lnTo>
                  <a:cubicBezTo>
                    <a:pt x="277626" y="89845"/>
                    <a:pt x="282736" y="81755"/>
                    <a:pt x="290826" y="81755"/>
                  </a:cubicBezTo>
                  <a:close/>
                  <a:moveTo>
                    <a:pt x="334258" y="301471"/>
                  </a:moveTo>
                  <a:lnTo>
                    <a:pt x="367897" y="301471"/>
                  </a:lnTo>
                  <a:lnTo>
                    <a:pt x="367897" y="126039"/>
                  </a:lnTo>
                  <a:lnTo>
                    <a:pt x="334258" y="130297"/>
                  </a:lnTo>
                  <a:lnTo>
                    <a:pt x="334258" y="301471"/>
                  </a:lnTo>
                  <a:close/>
                </a:path>
              </a:pathLst>
            </a:custGeom>
            <a:solidFill>
              <a:srgbClr val="005DA9"/>
            </a:solidFill>
            <a:ln w="4226" cap="flat">
              <a:noFill/>
              <a:prstDash val="solid"/>
              <a:miter/>
            </a:ln>
          </p:spPr>
          <p:txBody>
            <a:bodyPr rtlCol="0" anchor="ctr"/>
            <a:lstStyle/>
            <a:p>
              <a:endParaRPr lang="en-US" noProof="0" dirty="0">
                <a:latin typeface="+mn-lt"/>
                <a:ea typeface="+mn-ea"/>
                <a:cs typeface="+mn-cs"/>
              </a:endParaRPr>
            </a:p>
          </p:txBody>
        </p:sp>
        <p:sp>
          <p:nvSpPr>
            <p:cNvPr id="11" name="Freeform: Shape 10">
              <a:extLst>
                <a:ext uri="{FF2B5EF4-FFF2-40B4-BE49-F238E27FC236}">
                  <a16:creationId xmlns:a16="http://schemas.microsoft.com/office/drawing/2014/main" id="{AB3DFC8B-687C-41DA-A4C3-866145B61F3A}"/>
                </a:ext>
              </a:extLst>
            </p:cNvPr>
            <p:cNvSpPr/>
            <p:nvPr/>
          </p:nvSpPr>
          <p:spPr>
            <a:xfrm>
              <a:off x="10659752" y="193689"/>
              <a:ext cx="1206736" cy="528057"/>
            </a:xfrm>
            <a:custGeom>
              <a:avLst/>
              <a:gdLst>
                <a:gd name="connsiteX0" fmla="*/ 1024065 w 1206736"/>
                <a:gd name="connsiteY0" fmla="*/ 444872 h 528057"/>
                <a:gd name="connsiteX1" fmla="*/ 641265 w 1206736"/>
                <a:gd name="connsiteY1" fmla="*/ 492562 h 528057"/>
                <a:gd name="connsiteX2" fmla="*/ 67703 w 1206736"/>
                <a:gd name="connsiteY2" fmla="*/ 261349 h 528057"/>
                <a:gd name="connsiteX3" fmla="*/ 165639 w 1206736"/>
                <a:gd name="connsiteY3" fmla="*/ 122962 h 528057"/>
                <a:gd name="connsiteX4" fmla="*/ 146478 w 1206736"/>
                <a:gd name="connsiteY4" fmla="*/ 85491 h 528057"/>
                <a:gd name="connsiteX5" fmla="*/ 0 w 1206736"/>
                <a:gd name="connsiteY5" fmla="*/ 265181 h 528057"/>
                <a:gd name="connsiteX6" fmla="*/ 644671 w 1206736"/>
                <a:gd name="connsiteY6" fmla="*/ 527904 h 528057"/>
                <a:gd name="connsiteX7" fmla="*/ 992130 w 1206736"/>
                <a:gd name="connsiteY7" fmla="*/ 473826 h 528057"/>
                <a:gd name="connsiteX8" fmla="*/ 1206736 w 1206736"/>
                <a:gd name="connsiteY8" fmla="*/ 353749 h 528057"/>
                <a:gd name="connsiteX9" fmla="*/ 1024065 w 1206736"/>
                <a:gd name="connsiteY9" fmla="*/ 444872 h 528057"/>
                <a:gd name="connsiteX10" fmla="*/ 309136 w 1206736"/>
                <a:gd name="connsiteY10" fmla="*/ 58239 h 528057"/>
                <a:gd name="connsiteX11" fmla="*/ 363639 w 1206736"/>
                <a:gd name="connsiteY11" fmla="*/ 40781 h 528057"/>
                <a:gd name="connsiteX12" fmla="*/ 645097 w 1206736"/>
                <a:gd name="connsiteY12" fmla="*/ 2459 h 528057"/>
                <a:gd name="connsiteX13" fmla="*/ 356826 w 1206736"/>
                <a:gd name="connsiteY13" fmla="*/ 17788 h 528057"/>
                <a:gd name="connsiteX14" fmla="*/ 298490 w 1206736"/>
                <a:gd name="connsiteY14" fmla="*/ 30136 h 528057"/>
                <a:gd name="connsiteX15" fmla="*/ 275071 w 1206736"/>
                <a:gd name="connsiteY15" fmla="*/ 36523 h 528057"/>
                <a:gd name="connsiteX16" fmla="*/ 253781 w 1206736"/>
                <a:gd name="connsiteY16" fmla="*/ 42484 h 528057"/>
                <a:gd name="connsiteX17" fmla="*/ 228232 w 1206736"/>
                <a:gd name="connsiteY17" fmla="*/ 51001 h 528057"/>
                <a:gd name="connsiteX18" fmla="*/ 242284 w 1206736"/>
                <a:gd name="connsiteY18" fmla="*/ 83362 h 528057"/>
                <a:gd name="connsiteX19" fmla="*/ 309136 w 1206736"/>
                <a:gd name="connsiteY19" fmla="*/ 58239 h 52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6736" h="528057">
                  <a:moveTo>
                    <a:pt x="1024065" y="444872"/>
                  </a:moveTo>
                  <a:cubicBezTo>
                    <a:pt x="911652" y="478085"/>
                    <a:pt x="774968" y="492562"/>
                    <a:pt x="641265" y="492562"/>
                  </a:cubicBezTo>
                  <a:cubicBezTo>
                    <a:pt x="301897" y="492562"/>
                    <a:pt x="83032" y="392923"/>
                    <a:pt x="67703" y="261349"/>
                  </a:cubicBezTo>
                  <a:cubicBezTo>
                    <a:pt x="62168" y="211955"/>
                    <a:pt x="100916" y="163839"/>
                    <a:pt x="165639" y="122962"/>
                  </a:cubicBezTo>
                  <a:cubicBezTo>
                    <a:pt x="154142" y="114446"/>
                    <a:pt x="146903" y="100820"/>
                    <a:pt x="146478" y="85491"/>
                  </a:cubicBezTo>
                  <a:cubicBezTo>
                    <a:pt x="52800" y="134885"/>
                    <a:pt x="0" y="199607"/>
                    <a:pt x="0" y="265181"/>
                  </a:cubicBezTo>
                  <a:cubicBezTo>
                    <a:pt x="0" y="410381"/>
                    <a:pt x="259316" y="533014"/>
                    <a:pt x="644671" y="527904"/>
                  </a:cubicBezTo>
                  <a:cubicBezTo>
                    <a:pt x="778800" y="526201"/>
                    <a:pt x="890788" y="507039"/>
                    <a:pt x="992130" y="473826"/>
                  </a:cubicBezTo>
                  <a:cubicBezTo>
                    <a:pt x="1112633" y="434652"/>
                    <a:pt x="1188427" y="378446"/>
                    <a:pt x="1206736" y="353749"/>
                  </a:cubicBezTo>
                  <a:cubicBezTo>
                    <a:pt x="1185020" y="373336"/>
                    <a:pt x="1133498" y="412510"/>
                    <a:pt x="1024065" y="444872"/>
                  </a:cubicBezTo>
                  <a:close/>
                  <a:moveTo>
                    <a:pt x="309136" y="58239"/>
                  </a:moveTo>
                  <a:cubicBezTo>
                    <a:pt x="331703" y="50575"/>
                    <a:pt x="363639" y="40781"/>
                    <a:pt x="363639" y="40781"/>
                  </a:cubicBezTo>
                  <a:cubicBezTo>
                    <a:pt x="453484" y="16084"/>
                    <a:pt x="552697" y="1607"/>
                    <a:pt x="645097" y="2459"/>
                  </a:cubicBezTo>
                  <a:cubicBezTo>
                    <a:pt x="538645" y="-3928"/>
                    <a:pt x="441562" y="2459"/>
                    <a:pt x="356826" y="17788"/>
                  </a:cubicBezTo>
                  <a:cubicBezTo>
                    <a:pt x="356826" y="17788"/>
                    <a:pt x="328723" y="22472"/>
                    <a:pt x="298490" y="30136"/>
                  </a:cubicBezTo>
                  <a:cubicBezTo>
                    <a:pt x="298490" y="30136"/>
                    <a:pt x="284013" y="33968"/>
                    <a:pt x="275071" y="36523"/>
                  </a:cubicBezTo>
                  <a:cubicBezTo>
                    <a:pt x="266129" y="39078"/>
                    <a:pt x="253781" y="42484"/>
                    <a:pt x="253781" y="42484"/>
                  </a:cubicBezTo>
                  <a:cubicBezTo>
                    <a:pt x="245265" y="45039"/>
                    <a:pt x="236749" y="48020"/>
                    <a:pt x="228232" y="51001"/>
                  </a:cubicBezTo>
                  <a:cubicBezTo>
                    <a:pt x="236749" y="59517"/>
                    <a:pt x="241858" y="70588"/>
                    <a:pt x="242284" y="83362"/>
                  </a:cubicBezTo>
                  <a:cubicBezTo>
                    <a:pt x="257187" y="76549"/>
                    <a:pt x="285716" y="66330"/>
                    <a:pt x="309136" y="58239"/>
                  </a:cubicBezTo>
                  <a:close/>
                </a:path>
              </a:pathLst>
            </a:custGeom>
            <a:solidFill>
              <a:srgbClr val="E30034"/>
            </a:solidFill>
            <a:ln w="4226" cap="flat">
              <a:noFill/>
              <a:prstDash val="solid"/>
              <a:miter/>
            </a:ln>
          </p:spPr>
          <p:txBody>
            <a:bodyPr rtlCol="0" anchor="ctr"/>
            <a:lstStyle/>
            <a:p>
              <a:endParaRPr lang="en-US" noProof="0" dirty="0">
                <a:latin typeface="+mn-lt"/>
                <a:ea typeface="+mn-ea"/>
                <a:cs typeface="+mn-cs"/>
              </a:endParaRPr>
            </a:p>
          </p:txBody>
        </p:sp>
      </p:grpSp>
      <p:sp>
        <p:nvSpPr>
          <p:cNvPr id="3" name="empower - DO NOT DELETE!!!" hidden="1"/>
          <p:cNvSpPr/>
          <p:nvPr>
            <p:custDataLst>
              <p:tags r:id="rId27"/>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Tree>
    <p:extLst>
      <p:ext uri="{BB962C8B-B14F-4D97-AF65-F5344CB8AC3E}">
        <p14:creationId xmlns:p14="http://schemas.microsoft.com/office/powerpoint/2010/main" val="1872167729"/>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Lst>
  <p:hf hdr="0" dt="0"/>
  <p:txStyles>
    <p:title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18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2000" baseline="0">
          <a:solidFill>
            <a:schemeClr val="tx1"/>
          </a:solidFill>
          <a:latin typeface="+mn-lt"/>
          <a:ea typeface="+mn-ea"/>
          <a:cs typeface="+mn-cs"/>
        </a:defRPr>
      </a:lvl1pPr>
      <a:lvl2pPr marL="450000" indent="-270000" algn="l" defTabSz="576000" rtl="0" eaLnBrk="1" fontAlgn="base" hangingPunct="1">
        <a:spcBef>
          <a:spcPts val="0"/>
        </a:spcBef>
        <a:spcAft>
          <a:spcPts val="0"/>
        </a:spcAft>
        <a:buClr>
          <a:schemeClr val="accent1"/>
        </a:buClr>
        <a:buSzPct val="100000"/>
        <a:buFont typeface="Verdana" panose="020B0604030504040204" pitchFamily="34" charset="0"/>
        <a:buChar char="–"/>
        <a:defRPr sz="2000">
          <a:solidFill>
            <a:schemeClr val="tx1"/>
          </a:solidFill>
          <a:latin typeface="+mn-lt"/>
          <a:cs typeface="+mn-cs"/>
        </a:defRPr>
      </a:lvl2pPr>
      <a:lvl3pPr marL="63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800" baseline="0">
          <a:solidFill>
            <a:schemeClr val="tx1"/>
          </a:solidFill>
          <a:latin typeface="+mn-lt"/>
          <a:cs typeface="+mn-cs"/>
        </a:defRPr>
      </a:lvl3pPr>
      <a:lvl4pPr marL="802800" indent="-172800" algn="l" defTabSz="576000" rtl="0" eaLnBrk="1" fontAlgn="base" hangingPunct="1">
        <a:spcBef>
          <a:spcPts val="0"/>
        </a:spcBef>
        <a:spcAft>
          <a:spcPts val="0"/>
        </a:spcAft>
        <a:buClr>
          <a:schemeClr val="accent1"/>
        </a:buClr>
        <a:buSzPct val="100000"/>
        <a:buFont typeface="Arial" panose="020B0604020202020204" pitchFamily="34" charset="0"/>
        <a:buChar char="–"/>
        <a:defRPr sz="1600" baseline="0">
          <a:solidFill>
            <a:schemeClr val="tx1"/>
          </a:solidFill>
          <a:latin typeface="+mn-lt"/>
          <a:cs typeface="+mn-cs"/>
        </a:defRPr>
      </a:lvl4pPr>
      <a:lvl5pPr marL="9828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cs typeface="+mn-cs"/>
        </a:defRPr>
      </a:lvl5pPr>
      <a:lvl6pPr marL="982800" indent="-180000" algn="l" defTabSz="576000" rtl="0" eaLnBrk="1" fontAlgn="base" hangingPunct="1">
        <a:spcBef>
          <a:spcPts val="0"/>
        </a:spcBef>
        <a:spcAft>
          <a:spcPts val="0"/>
        </a:spcAft>
        <a:buClr>
          <a:schemeClr val="accent1"/>
        </a:buClr>
        <a:buFont typeface="Arial" panose="020B0604020202020204" pitchFamily="34" charset="0"/>
        <a:buChar char="–"/>
        <a:defRPr sz="1400" baseline="0">
          <a:solidFill>
            <a:schemeClr val="tx1"/>
          </a:solidFill>
          <a:latin typeface="+mn-lt"/>
          <a:cs typeface="+mn-cs"/>
        </a:defRPr>
      </a:lvl6pPr>
      <a:lvl7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7pPr>
      <a:lvl8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8pPr>
      <a:lvl9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6.emf"/><Relationship Id="rId5" Type="http://schemas.openxmlformats.org/officeDocument/2006/relationships/image" Target="../media/image15.png"/><Relationship Id="rId4"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60D826E-CBF3-490E-A7D8-EB72596F7A5B}"/>
              </a:ext>
            </a:extLst>
          </p:cNvPr>
          <p:cNvSpPr>
            <a:spLocks noGrp="1"/>
          </p:cNvSpPr>
          <p:nvPr>
            <p:ph type="ftr" sz="quarter" idx="11"/>
          </p:nvPr>
        </p:nvSpPr>
        <p:spPr>
          <a:xfrm>
            <a:off x="12192000" y="6858000"/>
            <a:ext cx="0" cy="0"/>
          </a:xfrm>
        </p:spPr>
        <p:txBody>
          <a:bodyPr/>
          <a:lstStyle/>
          <a:p>
            <a:endParaRPr lang="en-US" noProof="0" dirty="0"/>
          </a:p>
        </p:txBody>
      </p:sp>
      <p:sp>
        <p:nvSpPr>
          <p:cNvPr id="8" name="Title 7">
            <a:extLst>
              <a:ext uri="{FF2B5EF4-FFF2-40B4-BE49-F238E27FC236}">
                <a16:creationId xmlns:a16="http://schemas.microsoft.com/office/drawing/2014/main" id="{DE593835-3AA9-47BD-9B08-915137407576}"/>
              </a:ext>
            </a:extLst>
          </p:cNvPr>
          <p:cNvSpPr>
            <a:spLocks noGrp="1"/>
          </p:cNvSpPr>
          <p:nvPr>
            <p:ph type="ctrTitle"/>
          </p:nvPr>
        </p:nvSpPr>
        <p:spPr>
          <a:xfrm>
            <a:off x="650624" y="2057400"/>
            <a:ext cx="12558600" cy="648000"/>
          </a:xfrm>
        </p:spPr>
        <p:txBody>
          <a:bodyPr/>
          <a:lstStyle/>
          <a:p>
            <a:r>
              <a:rPr lang="de-DE" dirty="0"/>
              <a:t>User manual of BSHL</a:t>
            </a:r>
            <a:br>
              <a:rPr lang="de-DE" dirty="0"/>
            </a:br>
            <a:r>
              <a:rPr lang="de-DE" sz="2800" dirty="0"/>
              <a:t>(Bridgepath for SystemVerilog and High-level language)</a:t>
            </a:r>
            <a:endParaRPr lang="en-AT" sz="2800" dirty="0"/>
          </a:p>
        </p:txBody>
      </p:sp>
      <p:sp>
        <p:nvSpPr>
          <p:cNvPr id="9" name="Subtitle 8">
            <a:extLst>
              <a:ext uri="{FF2B5EF4-FFF2-40B4-BE49-F238E27FC236}">
                <a16:creationId xmlns:a16="http://schemas.microsoft.com/office/drawing/2014/main" id="{3739983C-7E1B-42AE-9139-7D20E877F6D5}"/>
              </a:ext>
            </a:extLst>
          </p:cNvPr>
          <p:cNvSpPr>
            <a:spLocks noGrp="1"/>
          </p:cNvSpPr>
          <p:nvPr>
            <p:ph type="subTitle" idx="1"/>
          </p:nvPr>
        </p:nvSpPr>
        <p:spPr/>
        <p:txBody>
          <a:bodyPr/>
          <a:lstStyle/>
          <a:p>
            <a:r>
              <a:rPr lang="de-DE" dirty="0"/>
              <a:t>Yilou Wang</a:t>
            </a:r>
            <a:endParaRPr lang="en-AT" dirty="0"/>
          </a:p>
        </p:txBody>
      </p:sp>
      <p:sp>
        <p:nvSpPr>
          <p:cNvPr id="2" name="Slide Number Placeholder 1">
            <a:extLst>
              <a:ext uri="{FF2B5EF4-FFF2-40B4-BE49-F238E27FC236}">
                <a16:creationId xmlns:a16="http://schemas.microsoft.com/office/drawing/2014/main" id="{154153A3-C7D9-4997-9CFE-F43904C463B5}"/>
              </a:ext>
            </a:extLst>
          </p:cNvPr>
          <p:cNvSpPr>
            <a:spLocks noGrp="1"/>
          </p:cNvSpPr>
          <p:nvPr>
            <p:ph type="sldNum" sz="quarter" idx="12"/>
          </p:nvPr>
        </p:nvSpPr>
        <p:spPr>
          <a:xfrm>
            <a:off x="11087355" y="6489341"/>
            <a:ext cx="384048" cy="361460"/>
          </a:xfrm>
        </p:spPr>
        <p:txBody>
          <a:bodyPr/>
          <a:lstStyle/>
          <a:p>
            <a:fld id="{BA925C6C-614A-4D70-B313-7ADCEE25F184}" type="slidenum">
              <a:rPr lang="en-US" noProof="0"/>
              <a:pPr/>
              <a:t>1</a:t>
            </a:fld>
            <a:endParaRPr lang="en-US" noProof="0" dirty="0"/>
          </a:p>
        </p:txBody>
      </p:sp>
      <p:sp>
        <p:nvSpPr>
          <p:cNvPr id="4" name="Rectangle 3">
            <a:extLst>
              <a:ext uri="{FF2B5EF4-FFF2-40B4-BE49-F238E27FC236}">
                <a16:creationId xmlns:a16="http://schemas.microsoft.com/office/drawing/2014/main" id="{785A94B3-4A19-4DDD-B1C2-A0100235E789}"/>
              </a:ext>
            </a:extLst>
          </p:cNvPr>
          <p:cNvSpPr/>
          <p:nvPr/>
        </p:nvSpPr>
        <p:spPr>
          <a:xfrm>
            <a:off x="4419600" y="3535541"/>
            <a:ext cx="7924800" cy="707886"/>
          </a:xfrm>
          <a:prstGeom prst="rect">
            <a:avLst/>
          </a:prstGeom>
        </p:spPr>
        <p:txBody>
          <a:bodyPr wrap="square">
            <a:spAutoFit/>
          </a:bodyPr>
          <a:lstStyle/>
          <a:p>
            <a:r>
              <a:rPr lang="de-DE" sz="2000" dirty="0"/>
              <a:t>From master thesis topic, Enable </a:t>
            </a:r>
            <a:r>
              <a:rPr lang="en-GB" sz="2000" b="1" dirty="0"/>
              <a:t>re-use</a:t>
            </a:r>
            <a:r>
              <a:rPr lang="en-GB" sz="2000" dirty="0"/>
              <a:t> of UVM-</a:t>
            </a:r>
            <a:r>
              <a:rPr lang="en-GB" sz="2000" dirty="0" err="1"/>
              <a:t>SystemVerilog</a:t>
            </a:r>
            <a:r>
              <a:rPr lang="en-GB" sz="2000" dirty="0"/>
              <a:t> verification components in </a:t>
            </a:r>
            <a:r>
              <a:rPr lang="en-GB" sz="2000" dirty="0" err="1"/>
              <a:t>cocotb</a:t>
            </a:r>
            <a:r>
              <a:rPr lang="en-GB" sz="2000" dirty="0"/>
              <a:t>/</a:t>
            </a:r>
            <a:r>
              <a:rPr lang="en-GB" sz="2000" dirty="0" err="1"/>
              <a:t>PyUVM</a:t>
            </a:r>
            <a:r>
              <a:rPr lang="en-GB" sz="2000" dirty="0"/>
              <a:t> </a:t>
            </a:r>
            <a:endParaRPr lang="de-DE" sz="2000" dirty="0"/>
          </a:p>
        </p:txBody>
      </p:sp>
    </p:spTree>
    <p:extLst>
      <p:ext uri="{BB962C8B-B14F-4D97-AF65-F5344CB8AC3E}">
        <p14:creationId xmlns:p14="http://schemas.microsoft.com/office/powerpoint/2010/main" val="348673626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10</a:t>
            </a:fld>
            <a:endParaRPr lang="en-US" dirty="0"/>
          </a:p>
        </p:txBody>
      </p:sp>
      <p:sp>
        <p:nvSpPr>
          <p:cNvPr id="7" name="Title 6">
            <a:extLst>
              <a:ext uri="{FF2B5EF4-FFF2-40B4-BE49-F238E27FC236}">
                <a16:creationId xmlns:a16="http://schemas.microsoft.com/office/drawing/2014/main" id="{69AE8294-9583-B72F-8BD9-2FE3EE4342FE}"/>
              </a:ext>
            </a:extLst>
          </p:cNvPr>
          <p:cNvSpPr txBox="1">
            <a:spLocks/>
          </p:cNvSpPr>
          <p:nvPr/>
        </p:nvSpPr>
        <p:spPr>
          <a:xfrm>
            <a:off x="381000" y="152400"/>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altLang="zh-CN" kern="0" dirty="0"/>
              <a:t>BSHL: Bridgepath for Systemverilog and High-level Languages</a:t>
            </a:r>
            <a:endParaRPr lang="de-DE" kern="0" dirty="0"/>
          </a:p>
        </p:txBody>
      </p:sp>
      <p:sp>
        <p:nvSpPr>
          <p:cNvPr id="12" name="TextBox 11">
            <a:extLst>
              <a:ext uri="{FF2B5EF4-FFF2-40B4-BE49-F238E27FC236}">
                <a16:creationId xmlns:a16="http://schemas.microsoft.com/office/drawing/2014/main" id="{664530B6-DB62-38A0-CBE2-5A57B19B9509}"/>
              </a:ext>
            </a:extLst>
          </p:cNvPr>
          <p:cNvSpPr txBox="1"/>
          <p:nvPr/>
        </p:nvSpPr>
        <p:spPr bwMode="auto">
          <a:xfrm>
            <a:off x="5791200" y="1847520"/>
            <a:ext cx="5107179" cy="29718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GB" sz="1600" kern="0" baseline="0" dirty="0" err="1">
                <a:latin typeface="+mn-lt"/>
                <a:ea typeface="+mn-ea"/>
                <a:cs typeface="+mn-cs"/>
              </a:rPr>
              <a:t>BSHL_user</a:t>
            </a:r>
            <a:r>
              <a:rPr lang="en-GB" sz="1600" kern="0" dirty="0" err="1">
                <a:latin typeface="+mn-lt"/>
              </a:rPr>
              <a:t>_extensions</a:t>
            </a:r>
            <a:r>
              <a:rPr lang="en-GB" sz="1600" kern="0" dirty="0">
                <a:latin typeface="+mn-lt"/>
              </a:rPr>
              <a:t> is a user-customizable component primarily responsible for importing additional packages, including extra files, defining transaction descriptor data structures, and adjusting the declaration of user-defined phase.</a:t>
            </a:r>
            <a:br>
              <a:rPr lang="en-GB" sz="1600" kern="0" dirty="0">
                <a:latin typeface="+mn-lt"/>
              </a:rPr>
            </a:br>
            <a:br>
              <a:rPr lang="en-GB" sz="1600" kern="0" dirty="0">
                <a:latin typeface="+mn-lt"/>
              </a:rPr>
            </a:br>
            <a:r>
              <a:rPr lang="en-GB" sz="1600" kern="0" dirty="0">
                <a:latin typeface="+mn-lt"/>
              </a:rPr>
              <a:t>Its main purpose is to adapt to various user cases by allowing users to customize these aspects to suit their specific needs.</a:t>
            </a:r>
            <a:br>
              <a:rPr lang="en-GB" sz="1600" kern="0" dirty="0">
                <a:latin typeface="+mn-lt"/>
              </a:rPr>
            </a:br>
            <a:br>
              <a:rPr lang="en-GB" sz="1600" kern="0" dirty="0">
                <a:latin typeface="+mn-lt"/>
              </a:rPr>
            </a:br>
            <a:r>
              <a:rPr lang="en-GB" sz="1600" kern="0" dirty="0">
                <a:latin typeface="+mn-lt"/>
              </a:rPr>
              <a:t>Ps: the handle “</a:t>
            </a:r>
            <a:r>
              <a:rPr lang="en-GB" sz="1600" kern="0" dirty="0" err="1">
                <a:latin typeface="+mn-lt"/>
              </a:rPr>
              <a:t>api</a:t>
            </a:r>
            <a:r>
              <a:rPr lang="en-GB" sz="1600" kern="0" dirty="0">
                <a:latin typeface="+mn-lt"/>
              </a:rPr>
              <a:t>” is used in BSHL_test_pkg.sv</a:t>
            </a:r>
            <a:endParaRPr lang="de-DE" sz="1600" kern="0" baseline="0" dirty="0">
              <a:latin typeface="+mn-lt"/>
              <a:ea typeface="+mn-ea"/>
              <a:cs typeface="+mn-cs"/>
            </a:endParaRPr>
          </a:p>
        </p:txBody>
      </p:sp>
      <p:pic>
        <p:nvPicPr>
          <p:cNvPr id="6" name="Picture 5">
            <a:extLst>
              <a:ext uri="{FF2B5EF4-FFF2-40B4-BE49-F238E27FC236}">
                <a16:creationId xmlns:a16="http://schemas.microsoft.com/office/drawing/2014/main" id="{C5BEECD1-D99B-15B0-CE98-D732D1D00ACF}"/>
              </a:ext>
            </a:extLst>
          </p:cNvPr>
          <p:cNvPicPr>
            <a:picLocks noChangeAspect="1"/>
          </p:cNvPicPr>
          <p:nvPr/>
        </p:nvPicPr>
        <p:blipFill>
          <a:blip r:embed="rId3"/>
          <a:stretch>
            <a:fillRect/>
          </a:stretch>
        </p:blipFill>
        <p:spPr>
          <a:xfrm>
            <a:off x="261135" y="931336"/>
            <a:ext cx="3207767" cy="857248"/>
          </a:xfrm>
          <a:prstGeom prst="rect">
            <a:avLst/>
          </a:prstGeom>
        </p:spPr>
      </p:pic>
      <p:pic>
        <p:nvPicPr>
          <p:cNvPr id="10" name="Picture 9">
            <a:extLst>
              <a:ext uri="{FF2B5EF4-FFF2-40B4-BE49-F238E27FC236}">
                <a16:creationId xmlns:a16="http://schemas.microsoft.com/office/drawing/2014/main" id="{98267A7C-742A-7643-A23C-E2A255E4F660}"/>
              </a:ext>
            </a:extLst>
          </p:cNvPr>
          <p:cNvPicPr>
            <a:picLocks noChangeAspect="1"/>
          </p:cNvPicPr>
          <p:nvPr/>
        </p:nvPicPr>
        <p:blipFill>
          <a:blip r:embed="rId4"/>
          <a:stretch>
            <a:fillRect/>
          </a:stretch>
        </p:blipFill>
        <p:spPr>
          <a:xfrm>
            <a:off x="415533" y="1447800"/>
            <a:ext cx="4965177" cy="5105400"/>
          </a:xfrm>
          <a:prstGeom prst="rect">
            <a:avLst/>
          </a:prstGeom>
        </p:spPr>
      </p:pic>
    </p:spTree>
    <p:extLst>
      <p:ext uri="{BB962C8B-B14F-4D97-AF65-F5344CB8AC3E}">
        <p14:creationId xmlns:p14="http://schemas.microsoft.com/office/powerpoint/2010/main" val="1423380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11</a:t>
            </a:fld>
            <a:endParaRPr lang="en-US" dirty="0"/>
          </a:p>
        </p:txBody>
      </p:sp>
      <p:sp>
        <p:nvSpPr>
          <p:cNvPr id="7" name="Title 6">
            <a:extLst>
              <a:ext uri="{FF2B5EF4-FFF2-40B4-BE49-F238E27FC236}">
                <a16:creationId xmlns:a16="http://schemas.microsoft.com/office/drawing/2014/main" id="{69AE8294-9583-B72F-8BD9-2FE3EE4342FE}"/>
              </a:ext>
            </a:extLst>
          </p:cNvPr>
          <p:cNvSpPr txBox="1">
            <a:spLocks/>
          </p:cNvSpPr>
          <p:nvPr/>
        </p:nvSpPr>
        <p:spPr>
          <a:xfrm>
            <a:off x="381000" y="152400"/>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altLang="zh-CN" kern="0" dirty="0"/>
              <a:t>BSHL: Bridgepath for Systemverilog and High-level Languages</a:t>
            </a:r>
            <a:endParaRPr lang="de-DE" kern="0" dirty="0"/>
          </a:p>
        </p:txBody>
      </p:sp>
      <p:sp>
        <p:nvSpPr>
          <p:cNvPr id="12" name="TextBox 11">
            <a:extLst>
              <a:ext uri="{FF2B5EF4-FFF2-40B4-BE49-F238E27FC236}">
                <a16:creationId xmlns:a16="http://schemas.microsoft.com/office/drawing/2014/main" id="{664530B6-DB62-38A0-CBE2-5A57B19B9509}"/>
              </a:ext>
            </a:extLst>
          </p:cNvPr>
          <p:cNvSpPr txBox="1"/>
          <p:nvPr/>
        </p:nvSpPr>
        <p:spPr bwMode="auto">
          <a:xfrm>
            <a:off x="8018068" y="1388111"/>
            <a:ext cx="3772332" cy="2802889"/>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GB" sz="1600" kern="0" baseline="0" dirty="0" err="1">
                <a:latin typeface="+mn-lt"/>
                <a:ea typeface="+mn-ea"/>
                <a:cs typeface="+mn-cs"/>
              </a:rPr>
              <a:t>BSHL_api</a:t>
            </a:r>
            <a:r>
              <a:rPr lang="en-GB" sz="1600" kern="0" baseline="0" dirty="0">
                <a:latin typeface="+mn-lt"/>
                <a:ea typeface="+mn-ea"/>
                <a:cs typeface="+mn-cs"/>
              </a:rPr>
              <a:t> is the most crucial component, serving as both the implementation of </a:t>
            </a:r>
            <a:r>
              <a:rPr lang="en-GB" sz="1600" kern="0" baseline="0" dirty="0" err="1">
                <a:latin typeface="+mn-lt"/>
                <a:ea typeface="+mn-ea"/>
                <a:cs typeface="+mn-cs"/>
              </a:rPr>
              <a:t>BSHL_if</a:t>
            </a:r>
            <a:r>
              <a:rPr lang="en-GB" sz="1600" kern="0" baseline="0" dirty="0">
                <a:latin typeface="+mn-lt"/>
                <a:ea typeface="+mn-ea"/>
                <a:cs typeface="+mn-cs"/>
              </a:rPr>
              <a:t> and an extension of the </a:t>
            </a:r>
            <a:r>
              <a:rPr lang="en-GB" sz="1600" i="1" kern="0" baseline="0" dirty="0" err="1">
                <a:latin typeface="+mn-lt"/>
                <a:ea typeface="+mn-ea"/>
                <a:cs typeface="+mn-cs"/>
              </a:rPr>
              <a:t>uvm_test</a:t>
            </a:r>
            <a:r>
              <a:rPr lang="en-GB" sz="1600" i="1" kern="0" baseline="0" dirty="0">
                <a:latin typeface="+mn-lt"/>
                <a:ea typeface="+mn-ea"/>
                <a:cs typeface="+mn-cs"/>
              </a:rPr>
              <a:t> </a:t>
            </a:r>
            <a:r>
              <a:rPr lang="en-GB" sz="1600" kern="0" baseline="0" dirty="0">
                <a:latin typeface="+mn-lt"/>
                <a:ea typeface="+mn-ea"/>
                <a:cs typeface="+mn-cs"/>
              </a:rPr>
              <a:t>test case. User can use it as a reference for their own new implementations or make direct modifications to it. For this reason, it is referred to as an “</a:t>
            </a:r>
            <a:r>
              <a:rPr lang="en-GB" sz="1600" kern="0" baseline="0" dirty="0" err="1">
                <a:latin typeface="+mn-lt"/>
                <a:ea typeface="+mn-ea"/>
                <a:cs typeface="+mn-cs"/>
              </a:rPr>
              <a:t>api</a:t>
            </a:r>
            <a:r>
              <a:rPr lang="en-GB" sz="1600" kern="0" baseline="0" dirty="0">
                <a:latin typeface="+mn-lt"/>
                <a:ea typeface="+mn-ea"/>
                <a:cs typeface="+mn-cs"/>
              </a:rPr>
              <a:t>” rather than “</a:t>
            </a:r>
            <a:r>
              <a:rPr lang="en-GB" sz="1600" kern="0" baseline="0" dirty="0" err="1">
                <a:latin typeface="+mn-lt"/>
                <a:ea typeface="+mn-ea"/>
                <a:cs typeface="+mn-cs"/>
              </a:rPr>
              <a:t>if_imp</a:t>
            </a:r>
            <a:r>
              <a:rPr lang="en-GB" sz="1600" kern="0" baseline="0" dirty="0">
                <a:latin typeface="+mn-lt"/>
                <a:ea typeface="+mn-ea"/>
                <a:cs typeface="+mn-cs"/>
              </a:rPr>
              <a:t>”.</a:t>
            </a:r>
            <a:br>
              <a:rPr lang="en-GB" sz="1600" kern="0" baseline="0" dirty="0">
                <a:latin typeface="+mn-lt"/>
                <a:ea typeface="+mn-ea"/>
                <a:cs typeface="+mn-cs"/>
              </a:rPr>
            </a:br>
            <a:endParaRPr lang="de-DE" sz="1600" kern="0" baseline="0" dirty="0">
              <a:latin typeface="+mn-lt"/>
              <a:ea typeface="+mn-ea"/>
              <a:cs typeface="+mn-cs"/>
            </a:endParaRPr>
          </a:p>
        </p:txBody>
      </p:sp>
      <p:pic>
        <p:nvPicPr>
          <p:cNvPr id="5" name="Picture 4">
            <a:extLst>
              <a:ext uri="{FF2B5EF4-FFF2-40B4-BE49-F238E27FC236}">
                <a16:creationId xmlns:a16="http://schemas.microsoft.com/office/drawing/2014/main" id="{EB2B47EA-BD92-0959-C658-1C85E8B45EE0}"/>
              </a:ext>
            </a:extLst>
          </p:cNvPr>
          <p:cNvPicPr>
            <a:picLocks noChangeAspect="1"/>
          </p:cNvPicPr>
          <p:nvPr/>
        </p:nvPicPr>
        <p:blipFill>
          <a:blip r:embed="rId3"/>
          <a:stretch>
            <a:fillRect/>
          </a:stretch>
        </p:blipFill>
        <p:spPr>
          <a:xfrm>
            <a:off x="375915" y="1066800"/>
            <a:ext cx="2507350" cy="876630"/>
          </a:xfrm>
          <a:prstGeom prst="rect">
            <a:avLst/>
          </a:prstGeom>
        </p:spPr>
      </p:pic>
      <p:pic>
        <p:nvPicPr>
          <p:cNvPr id="9" name="Picture 8">
            <a:extLst>
              <a:ext uri="{FF2B5EF4-FFF2-40B4-BE49-F238E27FC236}">
                <a16:creationId xmlns:a16="http://schemas.microsoft.com/office/drawing/2014/main" id="{45347169-28AF-3D71-FD2B-12BEC92DF98A}"/>
              </a:ext>
            </a:extLst>
          </p:cNvPr>
          <p:cNvPicPr>
            <a:picLocks noChangeAspect="1"/>
          </p:cNvPicPr>
          <p:nvPr/>
        </p:nvPicPr>
        <p:blipFill>
          <a:blip r:embed="rId4"/>
          <a:stretch>
            <a:fillRect/>
          </a:stretch>
        </p:blipFill>
        <p:spPr>
          <a:xfrm>
            <a:off x="251522" y="1687694"/>
            <a:ext cx="7357351" cy="4495800"/>
          </a:xfrm>
          <a:prstGeom prst="rect">
            <a:avLst/>
          </a:prstGeom>
        </p:spPr>
      </p:pic>
      <p:sp>
        <p:nvSpPr>
          <p:cNvPr id="13" name="TextBox 12">
            <a:extLst>
              <a:ext uri="{FF2B5EF4-FFF2-40B4-BE49-F238E27FC236}">
                <a16:creationId xmlns:a16="http://schemas.microsoft.com/office/drawing/2014/main" id="{457BF54C-3C05-9954-840B-811084F6F0F8}"/>
              </a:ext>
            </a:extLst>
          </p:cNvPr>
          <p:cNvSpPr txBox="1"/>
          <p:nvPr/>
        </p:nvSpPr>
        <p:spPr bwMode="auto">
          <a:xfrm>
            <a:off x="7973518" y="3654007"/>
            <a:ext cx="4188516" cy="1815882"/>
          </a:xfrm>
          <a:prstGeom prst="rect">
            <a:avLst/>
          </a:prstGeom>
          <a:noFill/>
          <a:ln w="9525">
            <a:noFill/>
            <a:miter lim="800000"/>
            <a:headEnd/>
            <a:tailEnd/>
          </a:ln>
          <a:effectLst/>
        </p:spPr>
        <p:txBody>
          <a:bodyPr wrap="square">
            <a:spAutoFit/>
          </a:bodyPr>
          <a:lstStyle/>
          <a:p>
            <a:br>
              <a:rPr lang="en-GB" sz="1600" kern="0" baseline="0" dirty="0">
                <a:latin typeface="+mn-lt"/>
                <a:ea typeface="+mn-ea"/>
                <a:cs typeface="+mn-cs"/>
              </a:rPr>
            </a:br>
            <a:r>
              <a:rPr lang="en-GB" sz="1600" kern="0" baseline="0" dirty="0">
                <a:latin typeface="+mn-lt"/>
                <a:ea typeface="+mn-ea"/>
                <a:cs typeface="+mn-cs"/>
              </a:rPr>
              <a:t>Within </a:t>
            </a:r>
            <a:r>
              <a:rPr lang="en-GB" sz="1600" kern="0" baseline="0" dirty="0" err="1">
                <a:latin typeface="+mn-lt"/>
                <a:ea typeface="+mn-ea"/>
                <a:cs typeface="+mn-cs"/>
              </a:rPr>
              <a:t>BSHL_api</a:t>
            </a:r>
            <a:r>
              <a:rPr lang="en-GB" sz="1600" kern="0" baseline="0" dirty="0">
                <a:latin typeface="+mn-lt"/>
                <a:ea typeface="+mn-ea"/>
                <a:cs typeface="+mn-cs"/>
              </a:rPr>
              <a:t>, you can find implementations of all the functions or tasks in </a:t>
            </a:r>
            <a:r>
              <a:rPr lang="en-GB" sz="1600" kern="0" baseline="0" dirty="0" err="1">
                <a:latin typeface="+mn-lt"/>
                <a:ea typeface="+mn-ea"/>
                <a:cs typeface="+mn-cs"/>
              </a:rPr>
              <a:t>BSHL_if</a:t>
            </a:r>
            <a:r>
              <a:rPr lang="en-GB" sz="1600" kern="0" baseline="0" dirty="0">
                <a:latin typeface="+mn-lt"/>
                <a:ea typeface="+mn-ea"/>
                <a:cs typeface="+mn-cs"/>
              </a:rPr>
              <a:t>. Additionally, it contains the </a:t>
            </a:r>
            <a:r>
              <a:rPr lang="en-GB" sz="1600" kern="0" baseline="0" dirty="0" err="1">
                <a:latin typeface="+mn-lt"/>
                <a:ea typeface="+mn-ea"/>
                <a:cs typeface="+mn-cs"/>
              </a:rPr>
              <a:t>run_phase</a:t>
            </a:r>
            <a:r>
              <a:rPr lang="en-GB" sz="1600" kern="0" baseline="0" dirty="0">
                <a:latin typeface="+mn-lt"/>
                <a:ea typeface="+mn-ea"/>
                <a:cs typeface="+mn-cs"/>
              </a:rPr>
              <a:t> of the </a:t>
            </a:r>
            <a:r>
              <a:rPr lang="en-GB" sz="1600" kern="0" baseline="0" dirty="0" err="1">
                <a:latin typeface="+mn-lt"/>
                <a:ea typeface="+mn-ea"/>
                <a:cs typeface="+mn-cs"/>
              </a:rPr>
              <a:t>uvm_test</a:t>
            </a:r>
            <a:r>
              <a:rPr lang="en-GB" sz="1600" kern="0" baseline="0" dirty="0">
                <a:latin typeface="+mn-lt"/>
                <a:ea typeface="+mn-ea"/>
                <a:cs typeface="+mn-cs"/>
              </a:rPr>
              <a:t>, where the simulation flow for the SV-VIP is specified.</a:t>
            </a:r>
            <a:br>
              <a:rPr lang="en-GB" sz="1600" kern="0" baseline="0" dirty="0">
                <a:latin typeface="+mn-lt"/>
                <a:ea typeface="+mn-ea"/>
                <a:cs typeface="+mn-cs"/>
              </a:rPr>
            </a:br>
            <a:endParaRPr lang="de-DE" sz="1600" dirty="0"/>
          </a:p>
        </p:txBody>
      </p:sp>
    </p:spTree>
    <p:extLst>
      <p:ext uri="{BB962C8B-B14F-4D97-AF65-F5344CB8AC3E}">
        <p14:creationId xmlns:p14="http://schemas.microsoft.com/office/powerpoint/2010/main" val="2290662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1DC2B2-88CF-E74E-88EF-530FDA2D6592}"/>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7667B4D7-4104-5F58-6E8E-346CE538F27B}"/>
              </a:ext>
            </a:extLst>
          </p:cNvPr>
          <p:cNvSpPr>
            <a:spLocks noGrp="1"/>
          </p:cNvSpPr>
          <p:nvPr>
            <p:ph type="sldNum" sz="quarter" idx="12"/>
          </p:nvPr>
        </p:nvSpPr>
        <p:spPr/>
        <p:txBody>
          <a:bodyPr/>
          <a:lstStyle/>
          <a:p>
            <a:fld id="{BA925C6C-614A-4D70-B313-7ADCEE25F184}" type="slidenum">
              <a:rPr lang="en-US" smtClean="0"/>
              <a:pPr/>
              <a:t>12</a:t>
            </a:fld>
            <a:endParaRPr lang="en-US" dirty="0"/>
          </a:p>
        </p:txBody>
      </p:sp>
      <p:sp>
        <p:nvSpPr>
          <p:cNvPr id="4" name="Picture Placeholder 3">
            <a:extLst>
              <a:ext uri="{FF2B5EF4-FFF2-40B4-BE49-F238E27FC236}">
                <a16:creationId xmlns:a16="http://schemas.microsoft.com/office/drawing/2014/main" id="{F46F8E44-E147-21AB-8154-FE77308E0521}"/>
              </a:ext>
            </a:extLst>
          </p:cNvPr>
          <p:cNvSpPr>
            <a:spLocks noGrp="1"/>
          </p:cNvSpPr>
          <p:nvPr>
            <p:ph type="pic" sz="quarter" idx="31"/>
          </p:nvPr>
        </p:nvSpPr>
        <p:spPr/>
        <p:txBody>
          <a:bodyPr/>
          <a:lstStyle/>
          <a:p>
            <a:endParaRPr lang="de-DE"/>
          </a:p>
        </p:txBody>
      </p:sp>
      <p:sp>
        <p:nvSpPr>
          <p:cNvPr id="5" name="Subtitle 4">
            <a:extLst>
              <a:ext uri="{FF2B5EF4-FFF2-40B4-BE49-F238E27FC236}">
                <a16:creationId xmlns:a16="http://schemas.microsoft.com/office/drawing/2014/main" id="{8FA4BB94-58B0-8A27-78F7-9807567392C1}"/>
              </a:ext>
            </a:extLst>
          </p:cNvPr>
          <p:cNvSpPr>
            <a:spLocks noGrp="1"/>
          </p:cNvSpPr>
          <p:nvPr>
            <p:ph type="subTitle" idx="1"/>
          </p:nvPr>
        </p:nvSpPr>
        <p:spPr/>
        <p:txBody>
          <a:bodyPr/>
          <a:lstStyle/>
          <a:p>
            <a:endParaRPr lang="de-DE"/>
          </a:p>
        </p:txBody>
      </p:sp>
      <p:sp>
        <p:nvSpPr>
          <p:cNvPr id="6" name="Title 5">
            <a:extLst>
              <a:ext uri="{FF2B5EF4-FFF2-40B4-BE49-F238E27FC236}">
                <a16:creationId xmlns:a16="http://schemas.microsoft.com/office/drawing/2014/main" id="{EB1EEECD-3CC1-E31C-65FF-9CE623EB202D}"/>
              </a:ext>
            </a:extLst>
          </p:cNvPr>
          <p:cNvSpPr>
            <a:spLocks noGrp="1"/>
          </p:cNvSpPr>
          <p:nvPr>
            <p:ph type="title"/>
          </p:nvPr>
        </p:nvSpPr>
        <p:spPr/>
        <p:txBody>
          <a:bodyPr/>
          <a:lstStyle/>
          <a:p>
            <a:r>
              <a:rPr lang="de-DE" dirty="0"/>
              <a:t>How to integrate BSHL</a:t>
            </a:r>
          </a:p>
        </p:txBody>
      </p:sp>
    </p:spTree>
    <p:extLst>
      <p:ext uri="{BB962C8B-B14F-4D97-AF65-F5344CB8AC3E}">
        <p14:creationId xmlns:p14="http://schemas.microsoft.com/office/powerpoint/2010/main" val="586595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13</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a:t>
            </a:r>
            <a:r>
              <a:rPr lang="en-GB" dirty="0"/>
              <a:t>– Tak</a:t>
            </a:r>
            <a:r>
              <a:rPr lang="de-DE" altLang="zh-CN" dirty="0"/>
              <a:t>e RV2DEMO as an example</a:t>
            </a:r>
            <a:endParaRPr lang="en-GB" dirty="0"/>
          </a:p>
        </p:txBody>
      </p:sp>
      <p:pic>
        <p:nvPicPr>
          <p:cNvPr id="6" name="Picture 5">
            <a:extLst>
              <a:ext uri="{FF2B5EF4-FFF2-40B4-BE49-F238E27FC236}">
                <a16:creationId xmlns:a16="http://schemas.microsoft.com/office/drawing/2014/main" id="{CF47172D-A623-79A5-4C36-D1492F40C03D}"/>
              </a:ext>
            </a:extLst>
          </p:cNvPr>
          <p:cNvPicPr>
            <a:picLocks noChangeAspect="1"/>
          </p:cNvPicPr>
          <p:nvPr/>
        </p:nvPicPr>
        <p:blipFill>
          <a:blip r:embed="rId3"/>
          <a:stretch>
            <a:fillRect/>
          </a:stretch>
        </p:blipFill>
        <p:spPr>
          <a:xfrm>
            <a:off x="2667000" y="1524911"/>
            <a:ext cx="6019800" cy="3808177"/>
          </a:xfrm>
          <a:prstGeom prst="rect">
            <a:avLst/>
          </a:prstGeom>
        </p:spPr>
      </p:pic>
    </p:spTree>
    <p:extLst>
      <p:ext uri="{BB962C8B-B14F-4D97-AF65-F5344CB8AC3E}">
        <p14:creationId xmlns:p14="http://schemas.microsoft.com/office/powerpoint/2010/main" val="1127353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76C0C1B-F4C3-E872-924C-4989A43F6610}"/>
              </a:ext>
            </a:extLst>
          </p:cNvPr>
          <p:cNvPicPr>
            <a:picLocks noChangeAspect="1"/>
          </p:cNvPicPr>
          <p:nvPr/>
        </p:nvPicPr>
        <p:blipFill>
          <a:blip r:embed="rId3"/>
          <a:stretch>
            <a:fillRect/>
          </a:stretch>
        </p:blipFill>
        <p:spPr>
          <a:xfrm>
            <a:off x="476527" y="1504087"/>
            <a:ext cx="11238945" cy="3086810"/>
          </a:xfrm>
          <a:prstGeom prst="rect">
            <a:avLst/>
          </a:prstGeom>
        </p:spPr>
      </p:pic>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14</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Step1: </a:t>
            </a:r>
            <a:r>
              <a:rPr lang="en-GB" dirty="0"/>
              <a:t>rebuild framework</a:t>
            </a:r>
          </a:p>
        </p:txBody>
      </p:sp>
      <p:cxnSp>
        <p:nvCxnSpPr>
          <p:cNvPr id="11" name="Straight Arrow Connector 10">
            <a:extLst>
              <a:ext uri="{FF2B5EF4-FFF2-40B4-BE49-F238E27FC236}">
                <a16:creationId xmlns:a16="http://schemas.microsoft.com/office/drawing/2014/main" id="{080719F1-C255-ED0C-BDF6-195C149A01D4}"/>
              </a:ext>
            </a:extLst>
          </p:cNvPr>
          <p:cNvCxnSpPr>
            <a:cxnSpLocks/>
          </p:cNvCxnSpPr>
          <p:nvPr/>
        </p:nvCxnSpPr>
        <p:spPr>
          <a:xfrm flipV="1">
            <a:off x="4953000" y="4330941"/>
            <a:ext cx="685800" cy="62753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81F58CF-4589-3713-5E82-4D70B5E75F45}"/>
              </a:ext>
            </a:extLst>
          </p:cNvPr>
          <p:cNvSpPr txBox="1"/>
          <p:nvPr/>
        </p:nvSpPr>
        <p:spPr bwMode="auto">
          <a:xfrm>
            <a:off x="1752600" y="4869770"/>
            <a:ext cx="3758783"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External sequence to support the </a:t>
            </a:r>
            <a:r>
              <a:rPr lang="zh-CN" altLang="de-DE" sz="1600" kern="0" dirty="0">
                <a:latin typeface="+mn-lt"/>
              </a:rPr>
              <a:t>“</a:t>
            </a:r>
            <a:r>
              <a:rPr lang="de-DE" sz="1600" kern="0" dirty="0">
                <a:latin typeface="+mn-lt"/>
              </a:rPr>
              <a:t>python sequence desciptor to sv</a:t>
            </a:r>
            <a:r>
              <a:rPr lang="zh-CN" altLang="de-DE" sz="1600" kern="0" dirty="0">
                <a:latin typeface="+mn-lt"/>
              </a:rPr>
              <a:t>”</a:t>
            </a:r>
            <a:r>
              <a:rPr lang="de-DE" sz="1600" kern="0" dirty="0">
                <a:latin typeface="+mn-lt"/>
              </a:rPr>
              <a:t> test</a:t>
            </a:r>
            <a:endParaRPr lang="de-DE" sz="1600" kern="0" baseline="0" dirty="0">
              <a:latin typeface="+mn-lt"/>
              <a:ea typeface="+mn-ea"/>
              <a:cs typeface="+mn-cs"/>
            </a:endParaRPr>
          </a:p>
        </p:txBody>
      </p:sp>
      <p:cxnSp>
        <p:nvCxnSpPr>
          <p:cNvPr id="15" name="Straight Arrow Connector 14">
            <a:extLst>
              <a:ext uri="{FF2B5EF4-FFF2-40B4-BE49-F238E27FC236}">
                <a16:creationId xmlns:a16="http://schemas.microsoft.com/office/drawing/2014/main" id="{970C8824-CC74-7851-BA79-716804A5BEDC}"/>
              </a:ext>
            </a:extLst>
          </p:cNvPr>
          <p:cNvCxnSpPr>
            <a:cxnSpLocks/>
          </p:cNvCxnSpPr>
          <p:nvPr/>
        </p:nvCxnSpPr>
        <p:spPr>
          <a:xfrm flipH="1" flipV="1">
            <a:off x="8135565" y="4330941"/>
            <a:ext cx="608292" cy="62753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058C03E-92EB-7AC0-4C80-B572EC028730}"/>
              </a:ext>
            </a:extLst>
          </p:cNvPr>
          <p:cNvSpPr txBox="1"/>
          <p:nvPr/>
        </p:nvSpPr>
        <p:spPr bwMode="auto">
          <a:xfrm>
            <a:off x="7584348" y="4869770"/>
            <a:ext cx="2825122"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sz="1600" kern="0" dirty="0">
                <a:latin typeface="+mn-lt"/>
              </a:rPr>
              <a:t>A new test case which extends the orginal one(test_sandbox)</a:t>
            </a:r>
            <a:endParaRPr lang="de-DE" sz="1600" kern="0" baseline="0" dirty="0">
              <a:latin typeface="+mn-lt"/>
              <a:ea typeface="+mn-ea"/>
              <a:cs typeface="+mn-cs"/>
            </a:endParaRPr>
          </a:p>
        </p:txBody>
      </p:sp>
      <p:cxnSp>
        <p:nvCxnSpPr>
          <p:cNvPr id="19" name="Straight Arrow Connector 18">
            <a:extLst>
              <a:ext uri="{FF2B5EF4-FFF2-40B4-BE49-F238E27FC236}">
                <a16:creationId xmlns:a16="http://schemas.microsoft.com/office/drawing/2014/main" id="{1E627E42-A827-2691-4AF1-D5FC9B6B9E2A}"/>
              </a:ext>
            </a:extLst>
          </p:cNvPr>
          <p:cNvCxnSpPr>
            <a:cxnSpLocks/>
          </p:cNvCxnSpPr>
          <p:nvPr/>
        </p:nvCxnSpPr>
        <p:spPr>
          <a:xfrm flipH="1">
            <a:off x="8135565" y="2075957"/>
            <a:ext cx="861344" cy="10488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0391B69-7657-EB91-F3AA-ACBA7C608E20}"/>
              </a:ext>
            </a:extLst>
          </p:cNvPr>
          <p:cNvSpPr txBox="1"/>
          <p:nvPr/>
        </p:nvSpPr>
        <p:spPr bwMode="auto">
          <a:xfrm>
            <a:off x="8280076" y="1267248"/>
            <a:ext cx="3336704"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sz="1600" kern="0" dirty="0">
                <a:latin typeface="+mn-lt"/>
              </a:rPr>
              <a:t>You can take this as a reference to help you write your new test case</a:t>
            </a:r>
            <a:endParaRPr lang="de-DE" sz="1600" kern="0" baseline="0" dirty="0">
              <a:latin typeface="+mn-lt"/>
              <a:ea typeface="+mn-ea"/>
              <a:cs typeface="+mn-cs"/>
            </a:endParaRPr>
          </a:p>
        </p:txBody>
      </p:sp>
    </p:spTree>
    <p:extLst>
      <p:ext uri="{BB962C8B-B14F-4D97-AF65-F5344CB8AC3E}">
        <p14:creationId xmlns:p14="http://schemas.microsoft.com/office/powerpoint/2010/main" val="4200563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15</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a:xfrm>
            <a:off x="335360" y="188720"/>
            <a:ext cx="9875440" cy="720000"/>
          </a:xfrm>
        </p:spPr>
        <p:txBody>
          <a:bodyPr/>
          <a:lstStyle/>
          <a:p>
            <a:r>
              <a:rPr lang="en-GB" b="1" dirty="0"/>
              <a:t>Integration-Step2:  </a:t>
            </a:r>
            <a:r>
              <a:rPr lang="en-GB" dirty="0"/>
              <a:t>inside the test case</a:t>
            </a:r>
          </a:p>
        </p:txBody>
      </p:sp>
      <p:sp>
        <p:nvSpPr>
          <p:cNvPr id="3" name="TextBox 2">
            <a:extLst>
              <a:ext uri="{FF2B5EF4-FFF2-40B4-BE49-F238E27FC236}">
                <a16:creationId xmlns:a16="http://schemas.microsoft.com/office/drawing/2014/main" id="{EB17ABB5-11F2-B12C-DD5D-AAFC131AED84}"/>
              </a:ext>
            </a:extLst>
          </p:cNvPr>
          <p:cNvSpPr txBox="1"/>
          <p:nvPr/>
        </p:nvSpPr>
        <p:spPr bwMode="auto">
          <a:xfrm>
            <a:off x="2514600" y="911513"/>
            <a:ext cx="4419600"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kern="0" dirty="0">
                <a:latin typeface="+mn-lt"/>
              </a:rPr>
              <a:t>Feel free to take the BSHL_api.svh as</a:t>
            </a:r>
            <a:r>
              <a:rPr lang="zh-CN" altLang="de-DE" kern="0" dirty="0">
                <a:latin typeface="+mn-lt"/>
              </a:rPr>
              <a:t> </a:t>
            </a:r>
            <a:r>
              <a:rPr lang="de-DE" altLang="zh-CN" kern="0" dirty="0">
                <a:latin typeface="+mn-lt"/>
              </a:rPr>
              <a:t>a</a:t>
            </a:r>
            <a:r>
              <a:rPr lang="zh-CN" altLang="de-DE" kern="0" dirty="0">
                <a:latin typeface="+mn-lt"/>
              </a:rPr>
              <a:t> </a:t>
            </a:r>
            <a:r>
              <a:rPr lang="de-DE" altLang="zh-CN" kern="0" dirty="0">
                <a:latin typeface="+mn-lt"/>
              </a:rPr>
              <a:t>reference</a:t>
            </a:r>
            <a:endParaRPr lang="de-DE" sz="1400" kern="0" baseline="0" dirty="0">
              <a:latin typeface="+mn-lt"/>
              <a:ea typeface="+mn-ea"/>
              <a:cs typeface="+mn-cs"/>
            </a:endParaRPr>
          </a:p>
        </p:txBody>
      </p:sp>
      <p:sp>
        <p:nvSpPr>
          <p:cNvPr id="6" name="Rectangle: Rounded Corners 5">
            <a:extLst>
              <a:ext uri="{FF2B5EF4-FFF2-40B4-BE49-F238E27FC236}">
                <a16:creationId xmlns:a16="http://schemas.microsoft.com/office/drawing/2014/main" id="{11C8EC55-3448-3300-5B4A-9F3479D3FBB8}"/>
              </a:ext>
            </a:extLst>
          </p:cNvPr>
          <p:cNvSpPr/>
          <p:nvPr/>
        </p:nvSpPr>
        <p:spPr bwMode="auto">
          <a:xfrm>
            <a:off x="609600" y="2340110"/>
            <a:ext cx="2057400" cy="533400"/>
          </a:xfrm>
          <a:prstGeom prst="roundRect">
            <a:avLst/>
          </a:prstGeom>
          <a:solidFill>
            <a:schemeClr val="accent4"/>
          </a:solidFill>
          <a:ln w="9525">
            <a:noFill/>
            <a:miter lim="800000"/>
            <a:headEnd/>
            <a:tailEnd/>
          </a:ln>
        </p:spPr>
        <p:txBody>
          <a:bodyPr wrap="square" lIns="72000" tIns="72000" rIns="72000" bIns="72000" rtlCol="0" anchor="ctr"/>
          <a:lstStyle/>
          <a:p>
            <a:pPr algn="ctr" eaLnBrk="0" hangingPunct="0"/>
            <a:r>
              <a:rPr lang="de-DE" altLang="zh-CN" sz="1600" baseline="0" dirty="0">
                <a:latin typeface="+mn-lt"/>
                <a:ea typeface="+mn-ea"/>
                <a:cs typeface="+mn-cs"/>
              </a:rPr>
              <a:t>i_</a:t>
            </a:r>
            <a:r>
              <a:rPr lang="de-DE" sz="1600" baseline="0" dirty="0">
                <a:latin typeface="+mn-lt"/>
                <a:ea typeface="+mn-ea"/>
                <a:cs typeface="+mn-cs"/>
              </a:rPr>
              <a:t>Blockingwait</a:t>
            </a:r>
            <a:r>
              <a:rPr lang="de-DE" sz="1600" dirty="0">
                <a:latin typeface="+mn-lt"/>
              </a:rPr>
              <a:t>()</a:t>
            </a:r>
            <a:r>
              <a:rPr lang="de-DE" sz="1600" baseline="0" dirty="0">
                <a:latin typeface="+mn-lt"/>
                <a:ea typeface="+mn-ea"/>
                <a:cs typeface="+mn-cs"/>
              </a:rPr>
              <a:t> Ext_seq_Test_start</a:t>
            </a:r>
          </a:p>
        </p:txBody>
      </p:sp>
      <p:sp>
        <p:nvSpPr>
          <p:cNvPr id="7" name="Rectangle: Rounded Corners 6">
            <a:extLst>
              <a:ext uri="{FF2B5EF4-FFF2-40B4-BE49-F238E27FC236}">
                <a16:creationId xmlns:a16="http://schemas.microsoft.com/office/drawing/2014/main" id="{5D958E2B-C5D8-4C21-954B-5AFFDECEB11A}"/>
              </a:ext>
            </a:extLst>
          </p:cNvPr>
          <p:cNvSpPr/>
          <p:nvPr/>
        </p:nvSpPr>
        <p:spPr bwMode="auto">
          <a:xfrm>
            <a:off x="6151605" y="1820907"/>
            <a:ext cx="2077994" cy="533400"/>
          </a:xfrm>
          <a:prstGeom prst="roundRect">
            <a:avLst/>
          </a:prstGeom>
          <a:solidFill>
            <a:schemeClr val="accent4"/>
          </a:solidFill>
          <a:ln w="9525">
            <a:noFill/>
            <a:miter lim="800000"/>
            <a:headEnd/>
            <a:tailEnd/>
          </a:ln>
        </p:spPr>
        <p:txBody>
          <a:bodyPr wrap="square" lIns="72000" tIns="72000" rIns="72000" bIns="72000" rtlCol="0" anchor="ctr"/>
          <a:lstStyle/>
          <a:p>
            <a:pPr algn="ctr" eaLnBrk="0" hangingPunct="0"/>
            <a:r>
              <a:rPr lang="de-DE" sz="1600" baseline="0" dirty="0">
                <a:latin typeface="+mn-lt"/>
                <a:ea typeface="+mn-ea"/>
                <a:cs typeface="+mn-cs"/>
              </a:rPr>
              <a:t>i_Dispatch_loop</a:t>
            </a:r>
          </a:p>
        </p:txBody>
      </p:sp>
      <p:sp>
        <p:nvSpPr>
          <p:cNvPr id="9" name="Diamond 8">
            <a:extLst>
              <a:ext uri="{FF2B5EF4-FFF2-40B4-BE49-F238E27FC236}">
                <a16:creationId xmlns:a16="http://schemas.microsoft.com/office/drawing/2014/main" id="{B2CD312F-B862-E6B5-AC5D-CBAAB00B0042}"/>
              </a:ext>
            </a:extLst>
          </p:cNvPr>
          <p:cNvSpPr/>
          <p:nvPr/>
        </p:nvSpPr>
        <p:spPr bwMode="auto">
          <a:xfrm>
            <a:off x="3048000" y="2263910"/>
            <a:ext cx="2514600" cy="685800"/>
          </a:xfrm>
          <a:prstGeom prst="diamond">
            <a:avLst/>
          </a:prstGeom>
          <a:solidFill>
            <a:schemeClr val="tx2"/>
          </a:solidFill>
          <a:ln w="9525">
            <a:noFill/>
            <a:miter lim="800000"/>
            <a:headEnd/>
            <a:tailEnd/>
          </a:ln>
        </p:spPr>
        <p:txBody>
          <a:bodyPr wrap="square" lIns="72000" tIns="72000" rIns="72000" bIns="72000" rtlCol="0" anchor="ctr"/>
          <a:lstStyle/>
          <a:p>
            <a:pPr algn="ctr" eaLnBrk="0" hangingPunct="0"/>
            <a:r>
              <a:rPr lang="de-DE" altLang="zh-CN" baseline="0" dirty="0">
                <a:latin typeface="+mn-lt"/>
                <a:ea typeface="+mn-ea"/>
                <a:cs typeface="+mn-cs"/>
              </a:rPr>
              <a:t>Ext_seq_Test</a:t>
            </a:r>
            <a:r>
              <a:rPr lang="de-DE" altLang="zh-CN" dirty="0">
                <a:latin typeface="+mn-lt"/>
                <a:ea typeface="+mn-ea"/>
                <a:cs typeface="+mn-cs"/>
              </a:rPr>
              <a:t> Start</a:t>
            </a:r>
            <a:r>
              <a:rPr lang="de-DE" dirty="0">
                <a:latin typeface="+mn-lt"/>
              </a:rPr>
              <a:t>?</a:t>
            </a:r>
            <a:endParaRPr lang="de-DE" baseline="0" dirty="0">
              <a:latin typeface="+mn-lt"/>
              <a:ea typeface="+mn-ea"/>
              <a:cs typeface="+mn-cs"/>
            </a:endParaRPr>
          </a:p>
        </p:txBody>
      </p:sp>
      <p:sp>
        <p:nvSpPr>
          <p:cNvPr id="10" name="Rectangle: Rounded Corners 9">
            <a:extLst>
              <a:ext uri="{FF2B5EF4-FFF2-40B4-BE49-F238E27FC236}">
                <a16:creationId xmlns:a16="http://schemas.microsoft.com/office/drawing/2014/main" id="{1A89EA6C-4BA1-3B67-B1A9-53786F53D1DD}"/>
              </a:ext>
            </a:extLst>
          </p:cNvPr>
          <p:cNvSpPr/>
          <p:nvPr/>
        </p:nvSpPr>
        <p:spPr bwMode="auto">
          <a:xfrm>
            <a:off x="6151604" y="2751974"/>
            <a:ext cx="2077995" cy="533400"/>
          </a:xfrm>
          <a:prstGeom prst="roundRect">
            <a:avLst/>
          </a:prstGeom>
          <a:solidFill>
            <a:schemeClr val="accent4"/>
          </a:solidFill>
          <a:ln w="9525">
            <a:noFill/>
            <a:miter lim="800000"/>
            <a:headEnd/>
            <a:tailEnd/>
          </a:ln>
        </p:spPr>
        <p:txBody>
          <a:bodyPr wrap="square" lIns="72000" tIns="72000" rIns="72000" bIns="72000" rtlCol="0" anchor="ctr"/>
          <a:lstStyle/>
          <a:p>
            <a:pPr algn="ctr" eaLnBrk="0" hangingPunct="0"/>
            <a:r>
              <a:rPr lang="de-DE" sz="1600" baseline="0" dirty="0">
                <a:latin typeface="+mn-lt"/>
                <a:ea typeface="+mn-ea"/>
                <a:cs typeface="+mn-cs"/>
              </a:rPr>
              <a:t>l_S_Recv_Seq_desc</a:t>
            </a:r>
          </a:p>
        </p:txBody>
      </p:sp>
      <p:sp>
        <p:nvSpPr>
          <p:cNvPr id="11" name="Rectangle: Rounded Corners 10">
            <a:extLst>
              <a:ext uri="{FF2B5EF4-FFF2-40B4-BE49-F238E27FC236}">
                <a16:creationId xmlns:a16="http://schemas.microsoft.com/office/drawing/2014/main" id="{7EEDDB18-EDC1-AE22-48C2-D4C39CDE4A01}"/>
              </a:ext>
            </a:extLst>
          </p:cNvPr>
          <p:cNvSpPr/>
          <p:nvPr/>
        </p:nvSpPr>
        <p:spPr bwMode="auto">
          <a:xfrm>
            <a:off x="9296400" y="2340110"/>
            <a:ext cx="1905000" cy="533400"/>
          </a:xfrm>
          <a:prstGeom prst="roundRect">
            <a:avLst/>
          </a:prstGeom>
          <a:solidFill>
            <a:schemeClr val="accent4"/>
          </a:solidFill>
          <a:ln w="9525">
            <a:noFill/>
            <a:miter lim="800000"/>
            <a:headEnd/>
            <a:tailEnd/>
          </a:ln>
        </p:spPr>
        <p:txBody>
          <a:bodyPr wrap="square" lIns="72000" tIns="72000" rIns="72000" bIns="72000" rtlCol="0" anchor="ctr"/>
          <a:lstStyle/>
          <a:p>
            <a:pPr algn="ctr" eaLnBrk="0" hangingPunct="0"/>
            <a:r>
              <a:rPr lang="de-DE" sz="1600" baseline="0" dirty="0">
                <a:latin typeface="+mn-lt"/>
                <a:ea typeface="+mn-ea"/>
                <a:cs typeface="+mn-cs"/>
              </a:rPr>
              <a:t>l_Notify_Ext_seq_Test_completion</a:t>
            </a:r>
          </a:p>
        </p:txBody>
      </p:sp>
      <p:sp>
        <p:nvSpPr>
          <p:cNvPr id="12" name="Rectangle: Rounded Corners 11">
            <a:extLst>
              <a:ext uri="{FF2B5EF4-FFF2-40B4-BE49-F238E27FC236}">
                <a16:creationId xmlns:a16="http://schemas.microsoft.com/office/drawing/2014/main" id="{1AF4DF4D-E91E-229D-0526-E898C20839A6}"/>
              </a:ext>
            </a:extLst>
          </p:cNvPr>
          <p:cNvSpPr/>
          <p:nvPr/>
        </p:nvSpPr>
        <p:spPr bwMode="auto">
          <a:xfrm>
            <a:off x="9221979" y="4541372"/>
            <a:ext cx="2057400" cy="533400"/>
          </a:xfrm>
          <a:prstGeom prst="roundRect">
            <a:avLst/>
          </a:prstGeom>
          <a:solidFill>
            <a:schemeClr val="accent4"/>
          </a:solidFill>
          <a:ln w="9525">
            <a:noFill/>
            <a:miter lim="800000"/>
            <a:headEnd/>
            <a:tailEnd/>
          </a:ln>
        </p:spPr>
        <p:txBody>
          <a:bodyPr wrap="square" lIns="72000" tIns="72000" rIns="72000" bIns="72000" rtlCol="0" anchor="ctr"/>
          <a:lstStyle/>
          <a:p>
            <a:pPr algn="ctr" eaLnBrk="0" hangingPunct="0"/>
            <a:r>
              <a:rPr lang="de-DE" altLang="zh-CN" sz="1600" baseline="0" dirty="0">
                <a:latin typeface="+mn-lt"/>
                <a:ea typeface="+mn-ea"/>
                <a:cs typeface="+mn-cs"/>
              </a:rPr>
              <a:t>i_</a:t>
            </a:r>
            <a:r>
              <a:rPr lang="de-DE" sz="1600" baseline="0" dirty="0">
                <a:latin typeface="+mn-lt"/>
                <a:ea typeface="+mn-ea"/>
                <a:cs typeface="+mn-cs"/>
              </a:rPr>
              <a:t>Blockingwait Int_seq_Test_start</a:t>
            </a:r>
          </a:p>
        </p:txBody>
      </p:sp>
      <p:sp>
        <p:nvSpPr>
          <p:cNvPr id="13" name="Diamond 12">
            <a:extLst>
              <a:ext uri="{FF2B5EF4-FFF2-40B4-BE49-F238E27FC236}">
                <a16:creationId xmlns:a16="http://schemas.microsoft.com/office/drawing/2014/main" id="{B54A3700-E2FB-A6F7-0B7D-799AD0E7B9C1}"/>
              </a:ext>
            </a:extLst>
          </p:cNvPr>
          <p:cNvSpPr/>
          <p:nvPr/>
        </p:nvSpPr>
        <p:spPr bwMode="auto">
          <a:xfrm>
            <a:off x="5867400" y="4465172"/>
            <a:ext cx="2514600" cy="685800"/>
          </a:xfrm>
          <a:prstGeom prst="diamond">
            <a:avLst/>
          </a:prstGeom>
          <a:solidFill>
            <a:schemeClr val="tx2"/>
          </a:solidFill>
          <a:ln w="9525">
            <a:noFill/>
            <a:miter lim="800000"/>
            <a:headEnd/>
            <a:tailEnd/>
          </a:ln>
        </p:spPr>
        <p:txBody>
          <a:bodyPr wrap="square" lIns="72000" tIns="72000" rIns="72000" bIns="72000" rtlCol="0" anchor="ctr"/>
          <a:lstStyle/>
          <a:p>
            <a:pPr algn="ctr" eaLnBrk="0" hangingPunct="0"/>
            <a:r>
              <a:rPr lang="de-DE" altLang="zh-CN" baseline="0" dirty="0">
                <a:latin typeface="+mn-lt"/>
                <a:ea typeface="+mn-ea"/>
                <a:cs typeface="+mn-cs"/>
              </a:rPr>
              <a:t>Int_seq_Test</a:t>
            </a:r>
            <a:r>
              <a:rPr lang="de-DE" altLang="zh-CN" dirty="0">
                <a:latin typeface="+mn-lt"/>
                <a:ea typeface="+mn-ea"/>
                <a:cs typeface="+mn-cs"/>
              </a:rPr>
              <a:t> Start</a:t>
            </a:r>
            <a:r>
              <a:rPr lang="de-DE" dirty="0">
                <a:latin typeface="+mn-lt"/>
              </a:rPr>
              <a:t>?</a:t>
            </a:r>
            <a:endParaRPr lang="de-DE" baseline="0" dirty="0">
              <a:latin typeface="+mn-lt"/>
              <a:ea typeface="+mn-ea"/>
              <a:cs typeface="+mn-cs"/>
            </a:endParaRPr>
          </a:p>
        </p:txBody>
      </p:sp>
      <p:sp>
        <p:nvSpPr>
          <p:cNvPr id="14" name="Rectangle: Rounded Corners 13">
            <a:extLst>
              <a:ext uri="{FF2B5EF4-FFF2-40B4-BE49-F238E27FC236}">
                <a16:creationId xmlns:a16="http://schemas.microsoft.com/office/drawing/2014/main" id="{CE68F958-4EB7-25B0-EF38-D51EDEBB66DE}"/>
              </a:ext>
            </a:extLst>
          </p:cNvPr>
          <p:cNvSpPr/>
          <p:nvPr/>
        </p:nvSpPr>
        <p:spPr bwMode="auto">
          <a:xfrm>
            <a:off x="685800" y="4541372"/>
            <a:ext cx="1905000" cy="533400"/>
          </a:xfrm>
          <a:prstGeom prst="roundRect">
            <a:avLst/>
          </a:prstGeom>
          <a:solidFill>
            <a:schemeClr val="accent4"/>
          </a:solidFill>
          <a:ln w="9525">
            <a:noFill/>
            <a:miter lim="800000"/>
            <a:headEnd/>
            <a:tailEnd/>
          </a:ln>
        </p:spPr>
        <p:txBody>
          <a:bodyPr wrap="square" lIns="72000" tIns="72000" rIns="72000" bIns="72000" rtlCol="0" anchor="ctr"/>
          <a:lstStyle/>
          <a:p>
            <a:pPr algn="ctr" eaLnBrk="0" hangingPunct="0"/>
            <a:r>
              <a:rPr lang="de-DE" sz="1600" baseline="0" dirty="0">
                <a:latin typeface="+mn-lt"/>
                <a:ea typeface="+mn-ea"/>
                <a:cs typeface="+mn-cs"/>
              </a:rPr>
              <a:t>l_Notify_Int_seq_Test_completion</a:t>
            </a:r>
          </a:p>
        </p:txBody>
      </p:sp>
      <p:sp>
        <p:nvSpPr>
          <p:cNvPr id="15" name="Oval 14">
            <a:extLst>
              <a:ext uri="{FF2B5EF4-FFF2-40B4-BE49-F238E27FC236}">
                <a16:creationId xmlns:a16="http://schemas.microsoft.com/office/drawing/2014/main" id="{5486E3C9-E164-7A14-C3D7-CE39A34285A2}"/>
              </a:ext>
            </a:extLst>
          </p:cNvPr>
          <p:cNvSpPr/>
          <p:nvPr/>
        </p:nvSpPr>
        <p:spPr bwMode="auto">
          <a:xfrm>
            <a:off x="3200400" y="4156636"/>
            <a:ext cx="2209800" cy="1302872"/>
          </a:xfrm>
          <a:prstGeom prst="ellipse">
            <a:avLst/>
          </a:prstGeom>
          <a:solidFill>
            <a:srgbClr val="00B0F0"/>
          </a:solidFill>
          <a:ln w="9525">
            <a:noFill/>
            <a:miter lim="800000"/>
            <a:headEnd/>
            <a:tailEnd/>
          </a:ln>
        </p:spPr>
        <p:txBody>
          <a:bodyPr wrap="square" lIns="72000" tIns="72000" rIns="72000" bIns="72000" rtlCol="0" anchor="ctr"/>
          <a:lstStyle/>
          <a:p>
            <a:pPr algn="ctr" eaLnBrk="0" hangingPunct="0"/>
            <a:r>
              <a:rPr lang="de-DE" sz="1600" dirty="0">
                <a:latin typeface="+mn-lt"/>
              </a:rPr>
              <a:t>Enable your own original Virtual sequence</a:t>
            </a:r>
            <a:endParaRPr lang="de-DE" sz="1600" baseline="0" dirty="0">
              <a:latin typeface="+mn-lt"/>
              <a:ea typeface="+mn-ea"/>
              <a:cs typeface="+mn-cs"/>
            </a:endParaRPr>
          </a:p>
        </p:txBody>
      </p:sp>
      <p:cxnSp>
        <p:nvCxnSpPr>
          <p:cNvPr id="17" name="Straight Arrow Connector 16">
            <a:extLst>
              <a:ext uri="{FF2B5EF4-FFF2-40B4-BE49-F238E27FC236}">
                <a16:creationId xmlns:a16="http://schemas.microsoft.com/office/drawing/2014/main" id="{C8A0FB3C-0AC1-FDEF-7091-A4C2055E837E}"/>
              </a:ext>
            </a:extLst>
          </p:cNvPr>
          <p:cNvCxnSpPr>
            <a:stCxn id="6" idx="3"/>
            <a:endCxn id="9" idx="1"/>
          </p:cNvCxnSpPr>
          <p:nvPr/>
        </p:nvCxnSpPr>
        <p:spPr>
          <a:xfrm>
            <a:off x="2667000" y="2606810"/>
            <a:ext cx="3810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a:extLst>
              <a:ext uri="{FF2B5EF4-FFF2-40B4-BE49-F238E27FC236}">
                <a16:creationId xmlns:a16="http://schemas.microsoft.com/office/drawing/2014/main" id="{5D74EEA8-3DB8-75D8-D0C1-FBE45EEC1D69}"/>
              </a:ext>
            </a:extLst>
          </p:cNvPr>
          <p:cNvSpPr/>
          <p:nvPr/>
        </p:nvSpPr>
        <p:spPr>
          <a:xfrm>
            <a:off x="5638800" y="2087607"/>
            <a:ext cx="228600" cy="1036593"/>
          </a:xfrm>
          <a:prstGeom prst="leftBrace">
            <a:avLst>
              <a:gd name="adj1" fmla="val 47973"/>
              <a:gd name="adj2" fmla="val 50000"/>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Right Brace 20">
            <a:extLst>
              <a:ext uri="{FF2B5EF4-FFF2-40B4-BE49-F238E27FC236}">
                <a16:creationId xmlns:a16="http://schemas.microsoft.com/office/drawing/2014/main" id="{6320EAC8-AE12-FC63-F608-B723621FBF73}"/>
              </a:ext>
            </a:extLst>
          </p:cNvPr>
          <p:cNvSpPr/>
          <p:nvPr/>
        </p:nvSpPr>
        <p:spPr>
          <a:xfrm>
            <a:off x="8534400" y="2087607"/>
            <a:ext cx="228600" cy="1036593"/>
          </a:xfrm>
          <a:prstGeom prst="rightBrace">
            <a:avLst>
              <a:gd name="adj1" fmla="val 51576"/>
              <a:gd name="adj2" fmla="val 50000"/>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3" name="Straight Arrow Connector 22">
            <a:extLst>
              <a:ext uri="{FF2B5EF4-FFF2-40B4-BE49-F238E27FC236}">
                <a16:creationId xmlns:a16="http://schemas.microsoft.com/office/drawing/2014/main" id="{75E6A1D2-C12B-6257-12B8-CE52C38BABB5}"/>
              </a:ext>
            </a:extLst>
          </p:cNvPr>
          <p:cNvCxnSpPr>
            <a:stCxn id="21" idx="1"/>
            <a:endCxn id="11" idx="1"/>
          </p:cNvCxnSpPr>
          <p:nvPr/>
        </p:nvCxnSpPr>
        <p:spPr>
          <a:xfrm>
            <a:off x="8763000" y="2605904"/>
            <a:ext cx="533400" cy="9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8D49359-9F1B-B6B2-78DC-BBD615804C67}"/>
              </a:ext>
            </a:extLst>
          </p:cNvPr>
          <p:cNvCxnSpPr>
            <a:stCxn id="11" idx="2"/>
            <a:endCxn id="12" idx="0"/>
          </p:cNvCxnSpPr>
          <p:nvPr/>
        </p:nvCxnSpPr>
        <p:spPr>
          <a:xfrm>
            <a:off x="10248900" y="2873510"/>
            <a:ext cx="1779" cy="16678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EE2506C-53B4-97F7-C515-66ADAE728CFC}"/>
              </a:ext>
            </a:extLst>
          </p:cNvPr>
          <p:cNvCxnSpPr>
            <a:stCxn id="12" idx="1"/>
            <a:endCxn id="13" idx="3"/>
          </p:cNvCxnSpPr>
          <p:nvPr/>
        </p:nvCxnSpPr>
        <p:spPr>
          <a:xfrm flipH="1">
            <a:off x="8382000" y="4808072"/>
            <a:ext cx="83997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5ABAE8D-4843-AF26-2D45-D3F590D3FFEF}"/>
              </a:ext>
            </a:extLst>
          </p:cNvPr>
          <p:cNvCxnSpPr>
            <a:stCxn id="13" idx="1"/>
            <a:endCxn id="15" idx="6"/>
          </p:cNvCxnSpPr>
          <p:nvPr/>
        </p:nvCxnSpPr>
        <p:spPr>
          <a:xfrm flipH="1">
            <a:off x="5410200" y="4808072"/>
            <a:ext cx="457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0ED3FEF-ED1D-13B1-1C66-D22E4DA8E61C}"/>
              </a:ext>
            </a:extLst>
          </p:cNvPr>
          <p:cNvCxnSpPr>
            <a:stCxn id="15" idx="2"/>
            <a:endCxn id="14" idx="3"/>
          </p:cNvCxnSpPr>
          <p:nvPr/>
        </p:nvCxnSpPr>
        <p:spPr>
          <a:xfrm flipH="1">
            <a:off x="2590800" y="4808072"/>
            <a:ext cx="6096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EAB9BAA-524B-7D78-F17F-F5390D1762A2}"/>
              </a:ext>
            </a:extLst>
          </p:cNvPr>
          <p:cNvSpPr txBox="1"/>
          <p:nvPr/>
        </p:nvSpPr>
        <p:spPr bwMode="auto">
          <a:xfrm>
            <a:off x="5872965" y="5679734"/>
            <a:ext cx="4752380"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Start with </a:t>
            </a:r>
            <a:r>
              <a:rPr lang="zh-CN" altLang="de-DE" sz="1600" kern="0" dirty="0">
                <a:latin typeface="+mn-lt"/>
              </a:rPr>
              <a:t>“</a:t>
            </a:r>
            <a:r>
              <a:rPr lang="de-DE" altLang="zh-CN" sz="1600" b="1" kern="0" dirty="0">
                <a:latin typeface="+mn-lt"/>
              </a:rPr>
              <a:t>i</a:t>
            </a:r>
            <a:r>
              <a:rPr lang="zh-CN" altLang="de-DE" sz="1600" kern="0" dirty="0">
                <a:latin typeface="+mn-lt"/>
              </a:rPr>
              <a:t>” </a:t>
            </a:r>
            <a:r>
              <a:rPr lang="de-DE" altLang="zh-CN" sz="1600" kern="0" dirty="0">
                <a:latin typeface="+mn-lt"/>
              </a:rPr>
              <a:t>means interface functions or tasks</a:t>
            </a:r>
          </a:p>
          <a:p>
            <a:pPr marR="0" algn="l" defTabSz="576000" eaLnBrk="0" fontAlgn="auto" latinLnBrk="0" hangingPunct="0">
              <a:spcBef>
                <a:spcPts val="0"/>
              </a:spcBef>
              <a:spcAft>
                <a:spcPts val="0"/>
              </a:spcAft>
              <a:buClr>
                <a:schemeClr val="accent1"/>
              </a:buClr>
              <a:buSzTx/>
              <a:tabLst/>
            </a:pPr>
            <a:r>
              <a:rPr lang="de-DE" sz="1600" kern="0" baseline="0" dirty="0">
                <a:latin typeface="+mn-lt"/>
                <a:ea typeface="+mn-ea"/>
                <a:cs typeface="+mn-cs"/>
              </a:rPr>
              <a:t>Start with </a:t>
            </a:r>
            <a:r>
              <a:rPr lang="zh-CN" altLang="de-DE" sz="1600" kern="0" baseline="0" dirty="0">
                <a:latin typeface="+mn-lt"/>
                <a:ea typeface="+mn-ea"/>
                <a:cs typeface="+mn-cs"/>
              </a:rPr>
              <a:t>“</a:t>
            </a:r>
            <a:r>
              <a:rPr lang="de-DE" altLang="zh-CN" sz="1600" b="1" kern="0" baseline="0" dirty="0">
                <a:latin typeface="+mn-lt"/>
                <a:ea typeface="+mn-ea"/>
                <a:cs typeface="+mn-cs"/>
              </a:rPr>
              <a:t>l</a:t>
            </a:r>
            <a:r>
              <a:rPr lang="zh-CN" altLang="de-DE" sz="1600" kern="0" baseline="0" dirty="0">
                <a:latin typeface="+mn-lt"/>
                <a:ea typeface="+mn-ea"/>
                <a:cs typeface="+mn-cs"/>
              </a:rPr>
              <a:t>” </a:t>
            </a:r>
            <a:r>
              <a:rPr lang="de-DE" altLang="zh-CN" sz="1600" kern="0" baseline="0" dirty="0">
                <a:latin typeface="+mn-lt"/>
                <a:ea typeface="+mn-ea"/>
                <a:cs typeface="+mn-cs"/>
              </a:rPr>
              <a:t>means library functions or tasks</a:t>
            </a:r>
            <a:endParaRPr lang="de-DE" sz="1600" kern="0" baseline="0" dirty="0">
              <a:latin typeface="+mn-lt"/>
              <a:ea typeface="+mn-ea"/>
              <a:cs typeface="+mn-cs"/>
            </a:endParaRPr>
          </a:p>
        </p:txBody>
      </p:sp>
    </p:spTree>
    <p:extLst>
      <p:ext uri="{BB962C8B-B14F-4D97-AF65-F5344CB8AC3E}">
        <p14:creationId xmlns:p14="http://schemas.microsoft.com/office/powerpoint/2010/main" val="142322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16</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Step3: Add the “response/result back to python” part</a:t>
            </a:r>
          </a:p>
        </p:txBody>
      </p:sp>
      <p:sp>
        <p:nvSpPr>
          <p:cNvPr id="3" name="Content Placeholder 2">
            <a:extLst>
              <a:ext uri="{FF2B5EF4-FFF2-40B4-BE49-F238E27FC236}">
                <a16:creationId xmlns:a16="http://schemas.microsoft.com/office/drawing/2014/main" id="{106C6371-9651-75B6-4B06-D8B377859FAA}"/>
              </a:ext>
            </a:extLst>
          </p:cNvPr>
          <p:cNvSpPr>
            <a:spLocks noGrp="1"/>
          </p:cNvSpPr>
          <p:nvPr>
            <p:ph sz="quarter" idx="13"/>
          </p:nvPr>
        </p:nvSpPr>
        <p:spPr>
          <a:xfrm>
            <a:off x="266307" y="1219200"/>
            <a:ext cx="11520000" cy="5113337"/>
          </a:xfrm>
        </p:spPr>
        <p:txBody>
          <a:bodyPr/>
          <a:lstStyle/>
          <a:p>
            <a:r>
              <a:rPr lang="de-DE" dirty="0"/>
              <a:t>Two cases</a:t>
            </a:r>
          </a:p>
          <a:p>
            <a:endParaRPr lang="de-DE" dirty="0"/>
          </a:p>
          <a:p>
            <a:endParaRPr lang="de-DE" dirty="0"/>
          </a:p>
          <a:p>
            <a:pPr lvl="1"/>
            <a:r>
              <a:rPr lang="de-DE" dirty="0"/>
              <a:t>1. </a:t>
            </a:r>
            <a:r>
              <a:rPr lang="en-GB" dirty="0"/>
              <a:t>In the SV-</a:t>
            </a:r>
            <a:r>
              <a:rPr lang="en-GB" dirty="0" err="1"/>
              <a:t>vip</a:t>
            </a:r>
            <a:r>
              <a:rPr lang="en-GB" dirty="0"/>
              <a:t> sequence, there is already a response/result feedback mechanism (most </a:t>
            </a:r>
            <a:r>
              <a:rPr lang="en-GB" strike="sngStrike" dirty="0"/>
              <a:t>mature</a:t>
            </a:r>
            <a:r>
              <a:rPr lang="en-GB" dirty="0"/>
              <a:t> </a:t>
            </a:r>
            <a:r>
              <a:rPr lang="en-GB" strike="sngStrike" dirty="0"/>
              <a:t>and</a:t>
            </a:r>
            <a:r>
              <a:rPr lang="en-GB" dirty="0"/>
              <a:t> </a:t>
            </a:r>
            <a:r>
              <a:rPr lang="en-GB" strike="sngStrike" dirty="0"/>
              <a:t>excellent</a:t>
            </a:r>
            <a:r>
              <a:rPr lang="en-GB" dirty="0"/>
              <a:t> </a:t>
            </a:r>
            <a:r>
              <a:rPr lang="en-GB" dirty="0" err="1"/>
              <a:t>vips</a:t>
            </a:r>
            <a:r>
              <a:rPr lang="en-GB" dirty="0"/>
              <a:t> typically have this feature).</a:t>
            </a:r>
            <a:endParaRPr lang="de-DE" dirty="0"/>
          </a:p>
          <a:p>
            <a:pPr lvl="1"/>
            <a:endParaRPr lang="de-DE" dirty="0"/>
          </a:p>
          <a:p>
            <a:pPr lvl="1"/>
            <a:endParaRPr lang="de-DE" dirty="0"/>
          </a:p>
          <a:p>
            <a:pPr lvl="1"/>
            <a:endParaRPr lang="de-DE" dirty="0"/>
          </a:p>
          <a:p>
            <a:pPr lvl="1"/>
            <a:r>
              <a:rPr lang="de-DE" dirty="0"/>
              <a:t>2. </a:t>
            </a:r>
            <a:r>
              <a:rPr lang="de-DE" altLang="zh-CN" dirty="0"/>
              <a:t>Build a new feedback path</a:t>
            </a:r>
            <a:endParaRPr lang="de-DE" dirty="0"/>
          </a:p>
          <a:p>
            <a:pPr lvl="1"/>
            <a:endParaRPr lang="de-DE" dirty="0"/>
          </a:p>
        </p:txBody>
      </p:sp>
      <p:pic>
        <p:nvPicPr>
          <p:cNvPr id="6" name="Picture 5">
            <a:extLst>
              <a:ext uri="{FF2B5EF4-FFF2-40B4-BE49-F238E27FC236}">
                <a16:creationId xmlns:a16="http://schemas.microsoft.com/office/drawing/2014/main" id="{D6F78F4E-D3CD-0260-D2B4-5E647ED69FF3}"/>
              </a:ext>
            </a:extLst>
          </p:cNvPr>
          <p:cNvPicPr>
            <a:picLocks noChangeAspect="1"/>
          </p:cNvPicPr>
          <p:nvPr/>
        </p:nvPicPr>
        <p:blipFill>
          <a:blip r:embed="rId3"/>
          <a:stretch>
            <a:fillRect/>
          </a:stretch>
        </p:blipFill>
        <p:spPr>
          <a:xfrm>
            <a:off x="4876800" y="3657600"/>
            <a:ext cx="4274519" cy="2488756"/>
          </a:xfrm>
          <a:prstGeom prst="rect">
            <a:avLst/>
          </a:prstGeom>
        </p:spPr>
      </p:pic>
    </p:spTree>
    <p:extLst>
      <p:ext uri="{BB962C8B-B14F-4D97-AF65-F5344CB8AC3E}">
        <p14:creationId xmlns:p14="http://schemas.microsoft.com/office/powerpoint/2010/main" val="2916851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1DC2B2-88CF-E74E-88EF-530FDA2D6592}"/>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7667B4D7-4104-5F58-6E8E-346CE538F27B}"/>
              </a:ext>
            </a:extLst>
          </p:cNvPr>
          <p:cNvSpPr>
            <a:spLocks noGrp="1"/>
          </p:cNvSpPr>
          <p:nvPr>
            <p:ph type="sldNum" sz="quarter" idx="12"/>
          </p:nvPr>
        </p:nvSpPr>
        <p:spPr/>
        <p:txBody>
          <a:bodyPr/>
          <a:lstStyle/>
          <a:p>
            <a:fld id="{BA925C6C-614A-4D70-B313-7ADCEE25F184}" type="slidenum">
              <a:rPr lang="en-US" smtClean="0"/>
              <a:pPr/>
              <a:t>17</a:t>
            </a:fld>
            <a:endParaRPr lang="en-US" dirty="0"/>
          </a:p>
        </p:txBody>
      </p:sp>
      <p:sp>
        <p:nvSpPr>
          <p:cNvPr id="4" name="Picture Placeholder 3">
            <a:extLst>
              <a:ext uri="{FF2B5EF4-FFF2-40B4-BE49-F238E27FC236}">
                <a16:creationId xmlns:a16="http://schemas.microsoft.com/office/drawing/2014/main" id="{F46F8E44-E147-21AB-8154-FE77308E0521}"/>
              </a:ext>
            </a:extLst>
          </p:cNvPr>
          <p:cNvSpPr>
            <a:spLocks noGrp="1"/>
          </p:cNvSpPr>
          <p:nvPr>
            <p:ph type="pic" sz="quarter" idx="31"/>
          </p:nvPr>
        </p:nvSpPr>
        <p:spPr/>
        <p:txBody>
          <a:bodyPr/>
          <a:lstStyle/>
          <a:p>
            <a:endParaRPr lang="de-DE" dirty="0"/>
          </a:p>
        </p:txBody>
      </p:sp>
      <p:sp>
        <p:nvSpPr>
          <p:cNvPr id="5" name="Subtitle 4">
            <a:extLst>
              <a:ext uri="{FF2B5EF4-FFF2-40B4-BE49-F238E27FC236}">
                <a16:creationId xmlns:a16="http://schemas.microsoft.com/office/drawing/2014/main" id="{8FA4BB94-58B0-8A27-78F7-9807567392C1}"/>
              </a:ext>
            </a:extLst>
          </p:cNvPr>
          <p:cNvSpPr>
            <a:spLocks noGrp="1"/>
          </p:cNvSpPr>
          <p:nvPr>
            <p:ph type="subTitle" idx="1"/>
          </p:nvPr>
        </p:nvSpPr>
        <p:spPr/>
        <p:txBody>
          <a:bodyPr/>
          <a:lstStyle/>
          <a:p>
            <a:endParaRPr lang="de-DE"/>
          </a:p>
        </p:txBody>
      </p:sp>
      <p:sp>
        <p:nvSpPr>
          <p:cNvPr id="6" name="Title 5">
            <a:extLst>
              <a:ext uri="{FF2B5EF4-FFF2-40B4-BE49-F238E27FC236}">
                <a16:creationId xmlns:a16="http://schemas.microsoft.com/office/drawing/2014/main" id="{EB1EEECD-3CC1-E31C-65FF-9CE623EB202D}"/>
              </a:ext>
            </a:extLst>
          </p:cNvPr>
          <p:cNvSpPr>
            <a:spLocks noGrp="1"/>
          </p:cNvSpPr>
          <p:nvPr>
            <p:ph type="title"/>
          </p:nvPr>
        </p:nvSpPr>
        <p:spPr/>
        <p:txBody>
          <a:bodyPr/>
          <a:lstStyle/>
          <a:p>
            <a:r>
              <a:rPr lang="de-DE" altLang="zh-CN" dirty="0"/>
              <a:t>Example integration details</a:t>
            </a:r>
            <a:endParaRPr lang="de-DE" dirty="0"/>
          </a:p>
        </p:txBody>
      </p:sp>
    </p:spTree>
    <p:extLst>
      <p:ext uri="{BB962C8B-B14F-4D97-AF65-F5344CB8AC3E}">
        <p14:creationId xmlns:p14="http://schemas.microsoft.com/office/powerpoint/2010/main" val="1877727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DDCC759-72DB-847D-03B2-49E74378DB7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9015FE3-294B-34EE-EC6E-64DAEA55EBFC}"/>
              </a:ext>
            </a:extLst>
          </p:cNvPr>
          <p:cNvSpPr>
            <a:spLocks noGrp="1"/>
          </p:cNvSpPr>
          <p:nvPr>
            <p:ph type="sldNum" sz="quarter" idx="12"/>
          </p:nvPr>
        </p:nvSpPr>
        <p:spPr/>
        <p:txBody>
          <a:bodyPr/>
          <a:lstStyle/>
          <a:p>
            <a:fld id="{BA925C6C-614A-4D70-B313-7ADCEE25F184}" type="slidenum">
              <a:rPr lang="en-US" smtClean="0"/>
              <a:pPr/>
              <a:t>18</a:t>
            </a:fld>
            <a:endParaRPr lang="en-US" dirty="0"/>
          </a:p>
        </p:txBody>
      </p:sp>
      <p:pic>
        <p:nvPicPr>
          <p:cNvPr id="7" name="Picture 6">
            <a:extLst>
              <a:ext uri="{FF2B5EF4-FFF2-40B4-BE49-F238E27FC236}">
                <a16:creationId xmlns:a16="http://schemas.microsoft.com/office/drawing/2014/main" id="{FF7D8979-429D-6D40-2322-ED7DF068C2E1}"/>
              </a:ext>
            </a:extLst>
          </p:cNvPr>
          <p:cNvPicPr>
            <a:picLocks noChangeAspect="1"/>
          </p:cNvPicPr>
          <p:nvPr/>
        </p:nvPicPr>
        <p:blipFill>
          <a:blip r:embed="rId2"/>
          <a:stretch>
            <a:fillRect/>
          </a:stretch>
        </p:blipFill>
        <p:spPr>
          <a:xfrm>
            <a:off x="838200" y="1371600"/>
            <a:ext cx="3552825" cy="3790950"/>
          </a:xfrm>
          <a:prstGeom prst="rect">
            <a:avLst/>
          </a:prstGeom>
        </p:spPr>
      </p:pic>
      <p:sp>
        <p:nvSpPr>
          <p:cNvPr id="8" name="Title 4">
            <a:extLst>
              <a:ext uri="{FF2B5EF4-FFF2-40B4-BE49-F238E27FC236}">
                <a16:creationId xmlns:a16="http://schemas.microsoft.com/office/drawing/2014/main" id="{F0CB97D6-B113-40AC-C5AF-1C0E08217AEA}"/>
              </a:ext>
            </a:extLst>
          </p:cNvPr>
          <p:cNvSpPr>
            <a:spLocks noGrp="1"/>
          </p:cNvSpPr>
          <p:nvPr>
            <p:ph type="title"/>
          </p:nvPr>
        </p:nvSpPr>
        <p:spPr>
          <a:xfrm>
            <a:off x="335360" y="188720"/>
            <a:ext cx="9613068" cy="720000"/>
          </a:xfrm>
        </p:spPr>
        <p:txBody>
          <a:bodyPr/>
          <a:lstStyle/>
          <a:p>
            <a:r>
              <a:rPr lang="en-GB" b="1" dirty="0"/>
              <a:t>Integration details guide</a:t>
            </a:r>
          </a:p>
        </p:txBody>
      </p:sp>
      <p:sp>
        <p:nvSpPr>
          <p:cNvPr id="9" name="TextBox 8">
            <a:extLst>
              <a:ext uri="{FF2B5EF4-FFF2-40B4-BE49-F238E27FC236}">
                <a16:creationId xmlns:a16="http://schemas.microsoft.com/office/drawing/2014/main" id="{79E4591C-C40D-3899-C666-13A701C1947A}"/>
              </a:ext>
            </a:extLst>
          </p:cNvPr>
          <p:cNvSpPr txBox="1"/>
          <p:nvPr/>
        </p:nvSpPr>
        <p:spPr bwMode="auto">
          <a:xfrm>
            <a:off x="5141894" y="609600"/>
            <a:ext cx="5791200" cy="4800600"/>
          </a:xfrm>
          <a:prstGeom prst="rect">
            <a:avLst/>
          </a:prstGeom>
          <a:noFill/>
          <a:ln w="9525">
            <a:noFill/>
            <a:miter lim="800000"/>
            <a:headEnd/>
            <a:tailEnd/>
          </a:ln>
          <a:effectLst/>
        </p:spPr>
        <p:txBody>
          <a:bodyPr wrap="square" lIns="0" tIns="0" rIns="0" bIns="0" rtlCol="0" anchor="ctr" anchorCtr="0">
            <a:noAutofit/>
          </a:bodyPr>
          <a:lstStyle/>
          <a:p>
            <a: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pPr>
            <a:r>
              <a:rPr lang="de-DE" sz="1400" kern="0" baseline="0" dirty="0">
                <a:latin typeface="+mn-lt"/>
                <a:ea typeface="+mn-ea"/>
                <a:cs typeface="+mn-cs"/>
              </a:rPr>
              <a:t>In the new unit </a:t>
            </a:r>
            <a:r>
              <a:rPr lang="de-DE" sz="1400" b="1" kern="0" baseline="0" dirty="0">
                <a:latin typeface="+mn-lt"/>
                <a:ea typeface="+mn-ea"/>
                <a:cs typeface="+mn-cs"/>
              </a:rPr>
              <a:t>d_pyuvm</a:t>
            </a:r>
            <a:r>
              <a:rPr lang="de-DE" sz="1400" kern="0" baseline="0" dirty="0">
                <a:latin typeface="+mn-lt"/>
                <a:ea typeface="+mn-ea"/>
                <a:cs typeface="+mn-cs"/>
              </a:rPr>
              <a:t>, in </a:t>
            </a:r>
            <a:r>
              <a:rPr lang="de-DE" sz="1400" b="1" kern="0" baseline="0" dirty="0">
                <a:latin typeface="+mn-lt"/>
                <a:ea typeface="+mn-ea"/>
                <a:cs typeface="+mn-cs"/>
              </a:rPr>
              <a:t>source</a:t>
            </a:r>
            <a:r>
              <a:rPr lang="de-DE" sz="1400" kern="0" baseline="0" dirty="0">
                <a:latin typeface="+mn-lt"/>
                <a:ea typeface="+mn-ea"/>
                <a:cs typeface="+mn-cs"/>
              </a:rPr>
              <a:t> folder, create a </a:t>
            </a:r>
            <a:r>
              <a:rPr lang="de-DE" sz="1400" b="1" kern="0" baseline="0" dirty="0">
                <a:latin typeface="+mn-lt"/>
                <a:ea typeface="+mn-ea"/>
                <a:cs typeface="+mn-cs"/>
              </a:rPr>
              <a:t>BSHL_templates </a:t>
            </a:r>
            <a:r>
              <a:rPr lang="de-DE" sz="1400" kern="0" baseline="0" dirty="0">
                <a:latin typeface="+mn-lt"/>
                <a:ea typeface="+mn-ea"/>
                <a:cs typeface="+mn-cs"/>
              </a:rPr>
              <a:t>folder</a:t>
            </a:r>
            <a:br>
              <a:rPr lang="de-DE" sz="1400" kern="0" baseline="0" dirty="0">
                <a:latin typeface="+mn-lt"/>
                <a:ea typeface="+mn-ea"/>
                <a:cs typeface="+mn-cs"/>
              </a:rPr>
            </a:br>
            <a:endParaRPr lang="de-DE" kern="0" dirty="0">
              <a:latin typeface="+mn-lt"/>
            </a:endParaRPr>
          </a:p>
          <a:p>
            <a: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pPr>
            <a:r>
              <a:rPr lang="de-DE" sz="1400" kern="0" baseline="0" dirty="0">
                <a:latin typeface="+mn-lt"/>
                <a:ea typeface="+mn-ea"/>
                <a:cs typeface="+mn-cs"/>
              </a:rPr>
              <a:t>Copy-paste the BSHL related files (from provided BSHL and rival2_tb_top.sv (your original Top-level tb)</a:t>
            </a:r>
            <a:br>
              <a:rPr lang="de-DE" sz="1400" kern="0" baseline="0" dirty="0">
                <a:latin typeface="+mn-lt"/>
                <a:ea typeface="+mn-ea"/>
                <a:cs typeface="+mn-cs"/>
              </a:rPr>
            </a:br>
            <a:endParaRPr lang="de-DE" sz="1400" kern="0" baseline="0" dirty="0">
              <a:latin typeface="+mn-lt"/>
              <a:ea typeface="+mn-ea"/>
              <a:cs typeface="+mn-cs"/>
            </a:endParaRPr>
          </a:p>
          <a:p>
            <a: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pPr>
            <a:r>
              <a:rPr lang="de-DE" sz="1400" kern="0" baseline="0" dirty="0">
                <a:latin typeface="+mn-lt"/>
                <a:ea typeface="+mn-ea"/>
                <a:cs typeface="+mn-cs"/>
              </a:rPr>
              <a:t>Create two new</a:t>
            </a:r>
            <a:r>
              <a:rPr lang="de-DE" kern="0" dirty="0">
                <a:latin typeface="+mn-lt"/>
              </a:rPr>
              <a:t> files in this folder, external_sequence.svh and sandbox_api.svh</a:t>
            </a:r>
            <a:endParaRPr lang="de-DE" sz="1400" kern="0" baseline="0" dirty="0">
              <a:latin typeface="+mn-lt"/>
              <a:ea typeface="+mn-ea"/>
              <a:cs typeface="+mn-cs"/>
            </a:endParaRPr>
          </a:p>
        </p:txBody>
      </p:sp>
    </p:spTree>
    <p:extLst>
      <p:ext uri="{BB962C8B-B14F-4D97-AF65-F5344CB8AC3E}">
        <p14:creationId xmlns:p14="http://schemas.microsoft.com/office/powerpoint/2010/main" val="831907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19</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p:txBody>
          <a:bodyPr/>
          <a:lstStyle/>
          <a:p>
            <a:r>
              <a:rPr lang="de-DE" dirty="0"/>
              <a:t>Intergration details guide</a:t>
            </a:r>
          </a:p>
        </p:txBody>
      </p:sp>
      <p:sp>
        <p:nvSpPr>
          <p:cNvPr id="7" name="Rectangle 6">
            <a:extLst>
              <a:ext uri="{FF2B5EF4-FFF2-40B4-BE49-F238E27FC236}">
                <a16:creationId xmlns:a16="http://schemas.microsoft.com/office/drawing/2014/main" id="{9CB57EA6-9C77-BA5C-E0CE-7561B48B59ED}"/>
              </a:ext>
            </a:extLst>
          </p:cNvPr>
          <p:cNvSpPr/>
          <p:nvPr/>
        </p:nvSpPr>
        <p:spPr>
          <a:xfrm>
            <a:off x="1524000" y="2940518"/>
            <a:ext cx="8686994" cy="923330"/>
          </a:xfrm>
          <a:prstGeom prst="rect">
            <a:avLst/>
          </a:prstGeom>
          <a:noFill/>
        </p:spPr>
        <p:txBody>
          <a:bodyPr wrap="none" lIns="91440" tIns="45720" rIns="91440" bIns="45720">
            <a:spAutoFit/>
          </a:bodyPr>
          <a:lstStyle/>
          <a:p>
            <a:pPr algn="ctr"/>
            <a:r>
              <a:rPr lang="en-US" sz="5400" b="0" cap="none" spc="0" dirty="0" err="1">
                <a:ln w="0"/>
                <a:solidFill>
                  <a:schemeClr val="tx1"/>
                </a:solidFill>
                <a:effectLst>
                  <a:outerShdw blurRad="38100" dist="19050" dir="2700000" algn="tl" rotWithShape="0">
                    <a:schemeClr val="dk1">
                      <a:alpha val="40000"/>
                    </a:schemeClr>
                  </a:outerShdw>
                </a:effectLst>
              </a:rPr>
              <a:t>BSHL_user_extensions.svh</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929599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B1DC2B2-88CF-E74E-88EF-530FDA2D6592}"/>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7667B4D7-4104-5F58-6E8E-346CE538F27B}"/>
              </a:ext>
            </a:extLst>
          </p:cNvPr>
          <p:cNvSpPr>
            <a:spLocks noGrp="1"/>
          </p:cNvSpPr>
          <p:nvPr>
            <p:ph type="sldNum" sz="quarter" idx="12"/>
          </p:nvPr>
        </p:nvSpPr>
        <p:spPr/>
        <p:txBody>
          <a:bodyPr/>
          <a:lstStyle/>
          <a:p>
            <a:fld id="{BA925C6C-614A-4D70-B313-7ADCEE25F184}" type="slidenum">
              <a:rPr lang="en-US" smtClean="0"/>
              <a:pPr/>
              <a:t>2</a:t>
            </a:fld>
            <a:endParaRPr lang="en-US" dirty="0"/>
          </a:p>
        </p:txBody>
      </p:sp>
      <p:sp>
        <p:nvSpPr>
          <p:cNvPr id="4" name="Picture Placeholder 3">
            <a:extLst>
              <a:ext uri="{FF2B5EF4-FFF2-40B4-BE49-F238E27FC236}">
                <a16:creationId xmlns:a16="http://schemas.microsoft.com/office/drawing/2014/main" id="{F46F8E44-E147-21AB-8154-FE77308E0521}"/>
              </a:ext>
            </a:extLst>
          </p:cNvPr>
          <p:cNvSpPr>
            <a:spLocks noGrp="1"/>
          </p:cNvSpPr>
          <p:nvPr>
            <p:ph type="pic" sz="quarter" idx="31"/>
          </p:nvPr>
        </p:nvSpPr>
        <p:spPr/>
        <p:txBody>
          <a:bodyPr/>
          <a:lstStyle/>
          <a:p>
            <a:endParaRPr lang="de-DE"/>
          </a:p>
        </p:txBody>
      </p:sp>
      <p:sp>
        <p:nvSpPr>
          <p:cNvPr id="5" name="Subtitle 4">
            <a:extLst>
              <a:ext uri="{FF2B5EF4-FFF2-40B4-BE49-F238E27FC236}">
                <a16:creationId xmlns:a16="http://schemas.microsoft.com/office/drawing/2014/main" id="{8FA4BB94-58B0-8A27-78F7-9807567392C1}"/>
              </a:ext>
            </a:extLst>
          </p:cNvPr>
          <p:cNvSpPr>
            <a:spLocks noGrp="1"/>
          </p:cNvSpPr>
          <p:nvPr>
            <p:ph type="subTitle" idx="1"/>
          </p:nvPr>
        </p:nvSpPr>
        <p:spPr/>
        <p:txBody>
          <a:bodyPr/>
          <a:lstStyle/>
          <a:p>
            <a:endParaRPr lang="de-DE"/>
          </a:p>
        </p:txBody>
      </p:sp>
      <p:sp>
        <p:nvSpPr>
          <p:cNvPr id="6" name="Title 5">
            <a:extLst>
              <a:ext uri="{FF2B5EF4-FFF2-40B4-BE49-F238E27FC236}">
                <a16:creationId xmlns:a16="http://schemas.microsoft.com/office/drawing/2014/main" id="{EB1EEECD-3CC1-E31C-65FF-9CE623EB202D}"/>
              </a:ext>
            </a:extLst>
          </p:cNvPr>
          <p:cNvSpPr>
            <a:spLocks noGrp="1"/>
          </p:cNvSpPr>
          <p:nvPr>
            <p:ph type="title"/>
          </p:nvPr>
        </p:nvSpPr>
        <p:spPr/>
        <p:txBody>
          <a:bodyPr/>
          <a:lstStyle/>
          <a:p>
            <a:r>
              <a:rPr lang="de-DE" dirty="0"/>
              <a:t>Overview of BSHL project</a:t>
            </a:r>
          </a:p>
        </p:txBody>
      </p:sp>
    </p:spTree>
    <p:extLst>
      <p:ext uri="{BB962C8B-B14F-4D97-AF65-F5344CB8AC3E}">
        <p14:creationId xmlns:p14="http://schemas.microsoft.com/office/powerpoint/2010/main" val="2075309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AC14998-2B34-0ADA-DC70-9E051F51BF08}"/>
              </a:ext>
            </a:extLst>
          </p:cNvPr>
          <p:cNvPicPr>
            <a:picLocks noGrp="1" noRot="1" noChangeAspect="1" noMove="1" noResize="1" noEditPoints="1" noAdjustHandles="1" noChangeArrowheads="1" noChangeShapeType="1" noCrop="1"/>
          </p:cNvPicPr>
          <p:nvPr/>
        </p:nvPicPr>
        <p:blipFill>
          <a:blip r:embed="rId3"/>
          <a:stretch>
            <a:fillRect/>
          </a:stretch>
        </p:blipFill>
        <p:spPr>
          <a:xfrm>
            <a:off x="62527" y="906927"/>
            <a:ext cx="5253512" cy="4325420"/>
          </a:xfrm>
          <a:prstGeom prst="rect">
            <a:avLst/>
          </a:prstGeom>
        </p:spPr>
      </p:pic>
      <p:pic>
        <p:nvPicPr>
          <p:cNvPr id="12" name="Picture 11">
            <a:extLst>
              <a:ext uri="{FF2B5EF4-FFF2-40B4-BE49-F238E27FC236}">
                <a16:creationId xmlns:a16="http://schemas.microsoft.com/office/drawing/2014/main" id="{04BE9D8C-051B-F254-EB59-2792467F952E}"/>
              </a:ext>
            </a:extLst>
          </p:cNvPr>
          <p:cNvPicPr>
            <a:picLocks noGrp="1" noRot="1" noChangeAspect="1" noMove="1" noResize="1" noEditPoints="1" noAdjustHandles="1" noChangeArrowheads="1" noChangeShapeType="1" noCrop="1"/>
          </p:cNvPicPr>
          <p:nvPr/>
        </p:nvPicPr>
        <p:blipFill>
          <a:blip r:embed="rId4"/>
          <a:stretch>
            <a:fillRect/>
          </a:stretch>
        </p:blipFill>
        <p:spPr>
          <a:xfrm>
            <a:off x="5403037" y="906927"/>
            <a:ext cx="6252936" cy="5458002"/>
          </a:xfrm>
          <a:prstGeom prst="rect">
            <a:avLst/>
          </a:prstGeom>
        </p:spPr>
      </p:pic>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20</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 </a:t>
            </a:r>
            <a:r>
              <a:rPr lang="de-DE" altLang="zh-CN" b="1" dirty="0"/>
              <a:t>BSHL_user_extensions.svh</a:t>
            </a:r>
            <a:endParaRPr lang="en-GB" b="1" dirty="0"/>
          </a:p>
        </p:txBody>
      </p:sp>
      <p:sp>
        <p:nvSpPr>
          <p:cNvPr id="8" name="Rectangle 7">
            <a:extLst>
              <a:ext uri="{FF2B5EF4-FFF2-40B4-BE49-F238E27FC236}">
                <a16:creationId xmlns:a16="http://schemas.microsoft.com/office/drawing/2014/main" id="{1F132AC1-31D0-E930-0FFE-87959C268F89}"/>
              </a:ext>
            </a:extLst>
          </p:cNvPr>
          <p:cNvSpPr/>
          <p:nvPr/>
        </p:nvSpPr>
        <p:spPr bwMode="auto">
          <a:xfrm>
            <a:off x="951363" y="1625652"/>
            <a:ext cx="2819400" cy="1263589"/>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0" name="Rectangle 9">
            <a:extLst>
              <a:ext uri="{FF2B5EF4-FFF2-40B4-BE49-F238E27FC236}">
                <a16:creationId xmlns:a16="http://schemas.microsoft.com/office/drawing/2014/main" id="{A78731C4-9505-73D3-C45E-D3F2E0A4BAC3}"/>
              </a:ext>
            </a:extLst>
          </p:cNvPr>
          <p:cNvSpPr/>
          <p:nvPr/>
        </p:nvSpPr>
        <p:spPr bwMode="auto">
          <a:xfrm>
            <a:off x="951363" y="4791389"/>
            <a:ext cx="1752601" cy="2286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6" name="Rectangle 5">
            <a:extLst>
              <a:ext uri="{FF2B5EF4-FFF2-40B4-BE49-F238E27FC236}">
                <a16:creationId xmlns:a16="http://schemas.microsoft.com/office/drawing/2014/main" id="{C1533130-E87A-C23E-0FB3-E0AD0BE0A900}"/>
              </a:ext>
            </a:extLst>
          </p:cNvPr>
          <p:cNvSpPr/>
          <p:nvPr/>
        </p:nvSpPr>
        <p:spPr bwMode="auto">
          <a:xfrm>
            <a:off x="951363" y="2971799"/>
            <a:ext cx="3315837" cy="1737033"/>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3" name="Rectangle 12">
            <a:extLst>
              <a:ext uri="{FF2B5EF4-FFF2-40B4-BE49-F238E27FC236}">
                <a16:creationId xmlns:a16="http://schemas.microsoft.com/office/drawing/2014/main" id="{386F0E32-1A86-4802-0E66-B792BB7E9277}"/>
              </a:ext>
            </a:extLst>
          </p:cNvPr>
          <p:cNvSpPr/>
          <p:nvPr/>
        </p:nvSpPr>
        <p:spPr bwMode="auto">
          <a:xfrm>
            <a:off x="6553200" y="3314700"/>
            <a:ext cx="1524001" cy="2286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6" name="TextBox 15">
            <a:extLst>
              <a:ext uri="{FF2B5EF4-FFF2-40B4-BE49-F238E27FC236}">
                <a16:creationId xmlns:a16="http://schemas.microsoft.com/office/drawing/2014/main" id="{4ECBE4F0-9409-0BED-294F-4AE7D30CA1BD}"/>
              </a:ext>
            </a:extLst>
          </p:cNvPr>
          <p:cNvSpPr txBox="1"/>
          <p:nvPr/>
        </p:nvSpPr>
        <p:spPr bwMode="auto">
          <a:xfrm>
            <a:off x="311591" y="5182095"/>
            <a:ext cx="5410200" cy="16002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2000" b="1" kern="0" baseline="0" dirty="0">
                <a:solidFill>
                  <a:schemeClr val="accent1"/>
                </a:solidFill>
                <a:latin typeface="+mn-lt"/>
                <a:ea typeface="+mn-ea"/>
                <a:cs typeface="+mn-cs"/>
              </a:rPr>
              <a:t>Red box shows the codes you need to modify or add</a:t>
            </a:r>
            <a:endParaRPr lang="de-DE" sz="1400" kern="0" baseline="0" dirty="0">
              <a:latin typeface="+mn-lt"/>
              <a:ea typeface="+mn-ea"/>
              <a:cs typeface="+mn-cs"/>
              <a:sym typeface="Wingdings" panose="05000000000000000000" pitchFamily="2" charset="2"/>
            </a:endParaRPr>
          </a:p>
          <a:p>
            <a: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pPr>
            <a:endParaRPr lang="de-DE" kern="0" dirty="0">
              <a:latin typeface="+mn-lt"/>
              <a:sym typeface="Wingdings" panose="05000000000000000000" pitchFamily="2" charset="2"/>
            </a:endParaRPr>
          </a:p>
        </p:txBody>
      </p:sp>
    </p:spTree>
    <p:extLst>
      <p:ext uri="{BB962C8B-B14F-4D97-AF65-F5344CB8AC3E}">
        <p14:creationId xmlns:p14="http://schemas.microsoft.com/office/powerpoint/2010/main" val="3018974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21</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p:txBody>
          <a:bodyPr/>
          <a:lstStyle/>
          <a:p>
            <a:r>
              <a:rPr lang="de-DE" dirty="0"/>
              <a:t>Intergration details guide</a:t>
            </a:r>
          </a:p>
        </p:txBody>
      </p:sp>
      <p:sp>
        <p:nvSpPr>
          <p:cNvPr id="7" name="Rectangle 6">
            <a:extLst>
              <a:ext uri="{FF2B5EF4-FFF2-40B4-BE49-F238E27FC236}">
                <a16:creationId xmlns:a16="http://schemas.microsoft.com/office/drawing/2014/main" id="{9CB57EA6-9C77-BA5C-E0CE-7561B48B59ED}"/>
              </a:ext>
            </a:extLst>
          </p:cNvPr>
          <p:cNvSpPr/>
          <p:nvPr/>
        </p:nvSpPr>
        <p:spPr>
          <a:xfrm>
            <a:off x="2406536" y="2967335"/>
            <a:ext cx="7378944" cy="923330"/>
          </a:xfrm>
          <a:prstGeom prst="rect">
            <a:avLst/>
          </a:prstGeom>
          <a:noFill/>
        </p:spPr>
        <p:txBody>
          <a:bodyPr wrap="none" lIns="91440" tIns="45720" rIns="91440" bIns="45720">
            <a:spAutoFit/>
          </a:bodyPr>
          <a:lstStyle/>
          <a:p>
            <a:pPr algn="ctr"/>
            <a:r>
              <a:rPr lang="en-US" sz="5400" b="0" cap="none" spc="0" dirty="0" err="1">
                <a:ln w="0"/>
                <a:solidFill>
                  <a:schemeClr val="tx1"/>
                </a:solidFill>
                <a:effectLst>
                  <a:outerShdw blurRad="38100" dist="19050" dir="2700000" algn="tl" rotWithShape="0">
                    <a:schemeClr val="dk1">
                      <a:alpha val="40000"/>
                    </a:schemeClr>
                  </a:outerShdw>
                </a:effectLst>
              </a:rPr>
              <a:t>external_sequence.svh</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534673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64C65F-7807-1D13-A56B-46413E5D1177}"/>
              </a:ext>
            </a:extLst>
          </p:cNvPr>
          <p:cNvPicPr>
            <a:picLocks noGrp="1" noRot="1" noChangeAspect="1" noMove="1" noResize="1" noEditPoints="1" noAdjustHandles="1" noChangeArrowheads="1" noChangeShapeType="1" noCrop="1"/>
          </p:cNvPicPr>
          <p:nvPr/>
        </p:nvPicPr>
        <p:blipFill rotWithShape="1">
          <a:blip r:embed="rId3"/>
          <a:srcRect l="26667" t="21728"/>
          <a:stretch/>
        </p:blipFill>
        <p:spPr>
          <a:xfrm>
            <a:off x="380999" y="1143000"/>
            <a:ext cx="6705601" cy="4372585"/>
          </a:xfrm>
          <a:prstGeom prst="rect">
            <a:avLst/>
          </a:prstGeom>
        </p:spPr>
      </p:pic>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22</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 </a:t>
            </a:r>
            <a:r>
              <a:rPr lang="de-DE" altLang="zh-CN" b="1" dirty="0"/>
              <a:t>external_sequence.svh</a:t>
            </a:r>
            <a:endParaRPr lang="en-GB" b="1" dirty="0"/>
          </a:p>
        </p:txBody>
      </p:sp>
      <p:sp>
        <p:nvSpPr>
          <p:cNvPr id="8" name="Rectangle 7">
            <a:extLst>
              <a:ext uri="{FF2B5EF4-FFF2-40B4-BE49-F238E27FC236}">
                <a16:creationId xmlns:a16="http://schemas.microsoft.com/office/drawing/2014/main" id="{1F132AC1-31D0-E930-0FFE-87959C268F89}"/>
              </a:ext>
            </a:extLst>
          </p:cNvPr>
          <p:cNvSpPr/>
          <p:nvPr/>
        </p:nvSpPr>
        <p:spPr bwMode="auto">
          <a:xfrm>
            <a:off x="1066800" y="3048001"/>
            <a:ext cx="5867400" cy="20193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3" name="TextBox 2">
            <a:extLst>
              <a:ext uri="{FF2B5EF4-FFF2-40B4-BE49-F238E27FC236}">
                <a16:creationId xmlns:a16="http://schemas.microsoft.com/office/drawing/2014/main" id="{ED3520BD-14FA-A881-9C81-4D730D48E940}"/>
              </a:ext>
            </a:extLst>
          </p:cNvPr>
          <p:cNvSpPr txBox="1"/>
          <p:nvPr/>
        </p:nvSpPr>
        <p:spPr bwMode="auto">
          <a:xfrm>
            <a:off x="7391400" y="1295400"/>
            <a:ext cx="4419601" cy="16002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2000" b="1" kern="0" baseline="0" dirty="0">
                <a:solidFill>
                  <a:schemeClr val="accent1"/>
                </a:solidFill>
                <a:latin typeface="+mn-lt"/>
                <a:ea typeface="+mn-ea"/>
                <a:cs typeface="+mn-cs"/>
              </a:rPr>
              <a:t>Choose a target sequence</a:t>
            </a:r>
            <a:r>
              <a:rPr lang="de-DE" sz="2000" b="1" kern="0" baseline="0" dirty="0">
                <a:solidFill>
                  <a:schemeClr val="accent1"/>
                </a:solidFill>
                <a:latin typeface="+mn-lt"/>
                <a:ea typeface="+mn-ea"/>
                <a:cs typeface="+mn-cs"/>
                <a:sym typeface="Wingdings" panose="05000000000000000000" pitchFamily="2" charset="2"/>
              </a:rPr>
              <a:t> and extends it to create your new external sequence</a:t>
            </a:r>
            <a:endParaRPr lang="de-DE" sz="1400" kern="0" baseline="0" dirty="0">
              <a:latin typeface="+mn-lt"/>
              <a:ea typeface="+mn-ea"/>
              <a:cs typeface="+mn-cs"/>
              <a:sym typeface="Wingdings" panose="05000000000000000000" pitchFamily="2" charset="2"/>
            </a:endParaRPr>
          </a:p>
        </p:txBody>
      </p:sp>
      <p:sp>
        <p:nvSpPr>
          <p:cNvPr id="7" name="Rectangle 6">
            <a:extLst>
              <a:ext uri="{FF2B5EF4-FFF2-40B4-BE49-F238E27FC236}">
                <a16:creationId xmlns:a16="http://schemas.microsoft.com/office/drawing/2014/main" id="{5224F04C-026E-3D75-88DC-C609BDFBE650}"/>
              </a:ext>
            </a:extLst>
          </p:cNvPr>
          <p:cNvSpPr/>
          <p:nvPr/>
        </p:nvSpPr>
        <p:spPr bwMode="auto">
          <a:xfrm>
            <a:off x="800099" y="1194758"/>
            <a:ext cx="5143501" cy="176842"/>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16142043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23</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p:txBody>
          <a:bodyPr/>
          <a:lstStyle/>
          <a:p>
            <a:r>
              <a:rPr lang="de-DE" dirty="0"/>
              <a:t>Intergration details guide</a:t>
            </a:r>
          </a:p>
        </p:txBody>
      </p:sp>
      <p:sp>
        <p:nvSpPr>
          <p:cNvPr id="7" name="Rectangle 6">
            <a:extLst>
              <a:ext uri="{FF2B5EF4-FFF2-40B4-BE49-F238E27FC236}">
                <a16:creationId xmlns:a16="http://schemas.microsoft.com/office/drawing/2014/main" id="{9CB57EA6-9C77-BA5C-E0CE-7561B48B59ED}"/>
              </a:ext>
            </a:extLst>
          </p:cNvPr>
          <p:cNvSpPr/>
          <p:nvPr/>
        </p:nvSpPr>
        <p:spPr>
          <a:xfrm>
            <a:off x="3124200" y="2819400"/>
            <a:ext cx="4570483" cy="923330"/>
          </a:xfrm>
          <a:prstGeom prst="rect">
            <a:avLst/>
          </a:prstGeom>
          <a:noFill/>
        </p:spPr>
        <p:txBody>
          <a:bodyPr wrap="none" lIns="91440" tIns="45720" rIns="91440" bIns="45720">
            <a:spAutoFit/>
          </a:bodyPr>
          <a:lstStyle/>
          <a:p>
            <a:pPr algn="ctr"/>
            <a:r>
              <a:rPr lang="en-US" sz="5400" b="0" cap="none" spc="0" dirty="0" err="1">
                <a:ln w="0"/>
                <a:solidFill>
                  <a:schemeClr val="tx1"/>
                </a:solidFill>
                <a:effectLst>
                  <a:outerShdw blurRad="38100" dist="19050" dir="2700000" algn="tl" rotWithShape="0">
                    <a:schemeClr val="dk1">
                      <a:alpha val="40000"/>
                    </a:schemeClr>
                  </a:outerShdw>
                </a:effectLst>
              </a:rPr>
              <a:t>BSHL_api.svh</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4923095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24</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 </a:t>
            </a:r>
            <a:r>
              <a:rPr lang="de-DE" altLang="zh-CN" b="1" dirty="0"/>
              <a:t>BSHL_api.svh</a:t>
            </a:r>
            <a:endParaRPr lang="en-GB" b="1" dirty="0"/>
          </a:p>
        </p:txBody>
      </p:sp>
      <p:pic>
        <p:nvPicPr>
          <p:cNvPr id="7" name="Picture 6">
            <a:extLst>
              <a:ext uri="{FF2B5EF4-FFF2-40B4-BE49-F238E27FC236}">
                <a16:creationId xmlns:a16="http://schemas.microsoft.com/office/drawing/2014/main" id="{DD997E03-8F41-4E6E-F4D9-FC9A3643E5BA}"/>
              </a:ext>
            </a:extLst>
          </p:cNvPr>
          <p:cNvPicPr>
            <a:picLocks noChangeAspect="1"/>
          </p:cNvPicPr>
          <p:nvPr/>
        </p:nvPicPr>
        <p:blipFill rotWithShape="1">
          <a:blip r:embed="rId3"/>
          <a:srcRect l="28260" t="15227" r="14155" b="-1103"/>
          <a:stretch/>
        </p:blipFill>
        <p:spPr>
          <a:xfrm>
            <a:off x="152400" y="1066800"/>
            <a:ext cx="4572000" cy="4648200"/>
          </a:xfrm>
          <a:prstGeom prst="rect">
            <a:avLst/>
          </a:prstGeom>
        </p:spPr>
      </p:pic>
      <p:sp>
        <p:nvSpPr>
          <p:cNvPr id="8" name="Rectangle 7">
            <a:extLst>
              <a:ext uri="{FF2B5EF4-FFF2-40B4-BE49-F238E27FC236}">
                <a16:creationId xmlns:a16="http://schemas.microsoft.com/office/drawing/2014/main" id="{1F132AC1-31D0-E930-0FFE-87959C268F89}"/>
              </a:ext>
            </a:extLst>
          </p:cNvPr>
          <p:cNvSpPr/>
          <p:nvPr/>
        </p:nvSpPr>
        <p:spPr bwMode="auto">
          <a:xfrm>
            <a:off x="609600" y="1143000"/>
            <a:ext cx="3962399" cy="2286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0" name="Rectangle 9">
            <a:extLst>
              <a:ext uri="{FF2B5EF4-FFF2-40B4-BE49-F238E27FC236}">
                <a16:creationId xmlns:a16="http://schemas.microsoft.com/office/drawing/2014/main" id="{A78731C4-9505-73D3-C45E-D3F2E0A4BAC3}"/>
              </a:ext>
            </a:extLst>
          </p:cNvPr>
          <p:cNvSpPr/>
          <p:nvPr/>
        </p:nvSpPr>
        <p:spPr bwMode="auto">
          <a:xfrm>
            <a:off x="838200" y="2286000"/>
            <a:ext cx="2667001" cy="2286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pic>
        <p:nvPicPr>
          <p:cNvPr id="3" name="Picture 2">
            <a:extLst>
              <a:ext uri="{FF2B5EF4-FFF2-40B4-BE49-F238E27FC236}">
                <a16:creationId xmlns:a16="http://schemas.microsoft.com/office/drawing/2014/main" id="{B6B9733C-ED52-BB02-A753-5D7C9338FD11}"/>
              </a:ext>
            </a:extLst>
          </p:cNvPr>
          <p:cNvPicPr>
            <a:picLocks noChangeAspect="1"/>
          </p:cNvPicPr>
          <p:nvPr/>
        </p:nvPicPr>
        <p:blipFill>
          <a:blip r:embed="rId4"/>
          <a:stretch>
            <a:fillRect/>
          </a:stretch>
        </p:blipFill>
        <p:spPr>
          <a:xfrm>
            <a:off x="4797547" y="1060873"/>
            <a:ext cx="7242053" cy="3968080"/>
          </a:xfrm>
          <a:prstGeom prst="rect">
            <a:avLst/>
          </a:prstGeom>
        </p:spPr>
      </p:pic>
      <p:sp>
        <p:nvSpPr>
          <p:cNvPr id="6" name="Rectangle 5">
            <a:extLst>
              <a:ext uri="{FF2B5EF4-FFF2-40B4-BE49-F238E27FC236}">
                <a16:creationId xmlns:a16="http://schemas.microsoft.com/office/drawing/2014/main" id="{902EBE3A-5031-EE73-6785-6082972E490B}"/>
              </a:ext>
            </a:extLst>
          </p:cNvPr>
          <p:cNvSpPr/>
          <p:nvPr/>
        </p:nvSpPr>
        <p:spPr bwMode="auto">
          <a:xfrm>
            <a:off x="5334000" y="1295400"/>
            <a:ext cx="3657600" cy="202722"/>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1" name="Rectangle 10">
            <a:extLst>
              <a:ext uri="{FF2B5EF4-FFF2-40B4-BE49-F238E27FC236}">
                <a16:creationId xmlns:a16="http://schemas.microsoft.com/office/drawing/2014/main" id="{D9A0E2D5-88F2-5F7D-7B03-077483CC106B}"/>
              </a:ext>
            </a:extLst>
          </p:cNvPr>
          <p:cNvSpPr/>
          <p:nvPr/>
        </p:nvSpPr>
        <p:spPr bwMode="auto">
          <a:xfrm>
            <a:off x="5638800" y="3988278"/>
            <a:ext cx="2590800" cy="202722"/>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88955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8BE8B67-4A8A-3CC1-A3DF-7FFFA91BA42B}"/>
              </a:ext>
            </a:extLst>
          </p:cNvPr>
          <p:cNvPicPr>
            <a:picLocks noChangeAspect="1"/>
          </p:cNvPicPr>
          <p:nvPr/>
        </p:nvPicPr>
        <p:blipFill>
          <a:blip r:embed="rId3"/>
          <a:stretch>
            <a:fillRect/>
          </a:stretch>
        </p:blipFill>
        <p:spPr>
          <a:xfrm>
            <a:off x="1295400" y="1157817"/>
            <a:ext cx="9486900" cy="4610100"/>
          </a:xfrm>
          <a:prstGeom prst="rect">
            <a:avLst/>
          </a:prstGeom>
        </p:spPr>
      </p:pic>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25</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 </a:t>
            </a:r>
            <a:r>
              <a:rPr lang="de-DE" altLang="zh-CN" b="1" dirty="0"/>
              <a:t>BSHL_api.svh</a:t>
            </a:r>
            <a:endParaRPr lang="en-GB" b="1" dirty="0"/>
          </a:p>
        </p:txBody>
      </p:sp>
      <p:sp>
        <p:nvSpPr>
          <p:cNvPr id="9" name="Rectangle 8">
            <a:extLst>
              <a:ext uri="{FF2B5EF4-FFF2-40B4-BE49-F238E27FC236}">
                <a16:creationId xmlns:a16="http://schemas.microsoft.com/office/drawing/2014/main" id="{2A93C25F-427C-3431-FCBC-EDBD40945257}"/>
              </a:ext>
            </a:extLst>
          </p:cNvPr>
          <p:cNvSpPr/>
          <p:nvPr/>
        </p:nvSpPr>
        <p:spPr bwMode="auto">
          <a:xfrm>
            <a:off x="2667000" y="3733800"/>
            <a:ext cx="2362200" cy="11430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4091766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6EC8E8A-C2A5-A8ED-CF16-C848E3D01109}"/>
              </a:ext>
            </a:extLst>
          </p:cNvPr>
          <p:cNvPicPr>
            <a:picLocks noChangeAspect="1"/>
          </p:cNvPicPr>
          <p:nvPr/>
        </p:nvPicPr>
        <p:blipFill>
          <a:blip r:embed="rId3"/>
          <a:stretch>
            <a:fillRect/>
          </a:stretch>
        </p:blipFill>
        <p:spPr>
          <a:xfrm>
            <a:off x="914400" y="990600"/>
            <a:ext cx="9613068" cy="5375441"/>
          </a:xfrm>
          <a:prstGeom prst="rect">
            <a:avLst/>
          </a:prstGeom>
        </p:spPr>
      </p:pic>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26</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 </a:t>
            </a:r>
            <a:r>
              <a:rPr lang="de-DE" altLang="zh-CN" b="1" dirty="0"/>
              <a:t>BSHL_api.svh</a:t>
            </a:r>
            <a:endParaRPr lang="en-GB" b="1" dirty="0"/>
          </a:p>
        </p:txBody>
      </p:sp>
      <p:sp>
        <p:nvSpPr>
          <p:cNvPr id="9" name="Rectangle 8">
            <a:extLst>
              <a:ext uri="{FF2B5EF4-FFF2-40B4-BE49-F238E27FC236}">
                <a16:creationId xmlns:a16="http://schemas.microsoft.com/office/drawing/2014/main" id="{2A93C25F-427C-3431-FCBC-EDBD40945257}"/>
              </a:ext>
            </a:extLst>
          </p:cNvPr>
          <p:cNvSpPr/>
          <p:nvPr/>
        </p:nvSpPr>
        <p:spPr bwMode="auto">
          <a:xfrm>
            <a:off x="1678168" y="3581400"/>
            <a:ext cx="5865632" cy="14478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3481671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27</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p:txBody>
          <a:bodyPr/>
          <a:lstStyle/>
          <a:p>
            <a:r>
              <a:rPr lang="de-DE" dirty="0"/>
              <a:t>Intergration details guide</a:t>
            </a:r>
          </a:p>
        </p:txBody>
      </p:sp>
      <p:sp>
        <p:nvSpPr>
          <p:cNvPr id="7" name="Rectangle 6">
            <a:extLst>
              <a:ext uri="{FF2B5EF4-FFF2-40B4-BE49-F238E27FC236}">
                <a16:creationId xmlns:a16="http://schemas.microsoft.com/office/drawing/2014/main" id="{9CB57EA6-9C77-BA5C-E0CE-7561B48B59ED}"/>
              </a:ext>
            </a:extLst>
          </p:cNvPr>
          <p:cNvSpPr/>
          <p:nvPr/>
        </p:nvSpPr>
        <p:spPr>
          <a:xfrm>
            <a:off x="2893367" y="2819400"/>
            <a:ext cx="5032148" cy="923330"/>
          </a:xfrm>
          <a:prstGeom prst="rect">
            <a:avLst/>
          </a:prstGeom>
          <a:noFill/>
        </p:spPr>
        <p:txBody>
          <a:bodyPr wrap="none" lIns="91440" tIns="45720" rIns="91440" bIns="45720">
            <a:spAutoFit/>
          </a:bodyPr>
          <a:lstStyle/>
          <a:p>
            <a:pPr algn="ctr"/>
            <a:r>
              <a:rPr lang="en-US" sz="5400" b="0" cap="none" spc="0">
                <a:ln w="0"/>
                <a:solidFill>
                  <a:schemeClr val="tx1"/>
                </a:solidFill>
                <a:effectLst>
                  <a:outerShdw blurRad="38100" dist="19050" dir="2700000" algn="tl" rotWithShape="0">
                    <a:schemeClr val="dk1">
                      <a:alpha val="40000"/>
                    </a:schemeClr>
                  </a:outerShdw>
                </a:effectLst>
              </a:rPr>
              <a:t>rival2_tb_top.sv</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5579844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0C1D10F-241B-74EF-8FBD-35D9BA0AFC92}"/>
              </a:ext>
            </a:extLst>
          </p:cNvPr>
          <p:cNvPicPr>
            <a:picLocks noGrp="1" noRot="1" noChangeAspect="1" noMove="1" noResize="1" noEditPoints="1" noAdjustHandles="1" noChangeArrowheads="1" noChangeShapeType="1" noCrop="1"/>
          </p:cNvPicPr>
          <p:nvPr/>
        </p:nvPicPr>
        <p:blipFill>
          <a:blip r:embed="rId3"/>
          <a:stretch>
            <a:fillRect/>
          </a:stretch>
        </p:blipFill>
        <p:spPr>
          <a:xfrm>
            <a:off x="983831" y="1066800"/>
            <a:ext cx="8989764" cy="5122314"/>
          </a:xfrm>
          <a:prstGeom prst="rect">
            <a:avLst/>
          </a:prstGeom>
        </p:spPr>
      </p:pic>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28</a:t>
            </a:fld>
            <a:endParaRPr lang="en-US" dirty="0"/>
          </a:p>
        </p:txBody>
      </p:sp>
      <p:sp>
        <p:nvSpPr>
          <p:cNvPr id="5" name="Title 4">
            <a:extLst>
              <a:ext uri="{FF2B5EF4-FFF2-40B4-BE49-F238E27FC236}">
                <a16:creationId xmlns:a16="http://schemas.microsoft.com/office/drawing/2014/main" id="{A8B1435D-430C-44BE-9ED0-1A0C55CAFFC6}"/>
              </a:ext>
            </a:extLst>
          </p:cNvPr>
          <p:cNvSpPr>
            <a:spLocks noGrp="1"/>
          </p:cNvSpPr>
          <p:nvPr>
            <p:ph type="title"/>
          </p:nvPr>
        </p:nvSpPr>
        <p:spPr/>
        <p:txBody>
          <a:bodyPr/>
          <a:lstStyle/>
          <a:p>
            <a:r>
              <a:rPr lang="en-GB" b="1" dirty="0"/>
              <a:t>Integration – </a:t>
            </a:r>
            <a:r>
              <a:rPr lang="de-DE" b="1" dirty="0"/>
              <a:t>rival2_tb_top</a:t>
            </a:r>
            <a:r>
              <a:rPr lang="de-DE" altLang="zh-CN" b="1" dirty="0"/>
              <a:t>.sv</a:t>
            </a:r>
            <a:endParaRPr lang="en-GB" b="1" dirty="0"/>
          </a:p>
        </p:txBody>
      </p:sp>
      <p:sp>
        <p:nvSpPr>
          <p:cNvPr id="8" name="Rectangle 7">
            <a:extLst>
              <a:ext uri="{FF2B5EF4-FFF2-40B4-BE49-F238E27FC236}">
                <a16:creationId xmlns:a16="http://schemas.microsoft.com/office/drawing/2014/main" id="{C7B89AEB-DD9B-EE29-FDEC-25E6EA6DAD23}"/>
              </a:ext>
            </a:extLst>
          </p:cNvPr>
          <p:cNvSpPr/>
          <p:nvPr/>
        </p:nvSpPr>
        <p:spPr bwMode="auto">
          <a:xfrm>
            <a:off x="4191000" y="4229100"/>
            <a:ext cx="1828800" cy="1905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34625432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29</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457200"/>
            <a:ext cx="9613068" cy="720000"/>
          </a:xfrm>
        </p:spPr>
        <p:txBody>
          <a:bodyPr/>
          <a:lstStyle/>
          <a:p>
            <a:r>
              <a:rPr lang="de-DE" dirty="0"/>
              <a:t>Intergration details guide</a:t>
            </a:r>
            <a:br>
              <a:rPr lang="en-GB" dirty="0"/>
            </a:br>
            <a:endParaRPr lang="de-DE" dirty="0"/>
          </a:p>
        </p:txBody>
      </p:sp>
      <p:sp>
        <p:nvSpPr>
          <p:cNvPr id="7" name="Rectangle 6">
            <a:extLst>
              <a:ext uri="{FF2B5EF4-FFF2-40B4-BE49-F238E27FC236}">
                <a16:creationId xmlns:a16="http://schemas.microsoft.com/office/drawing/2014/main" id="{9CB57EA6-9C77-BA5C-E0CE-7561B48B59ED}"/>
              </a:ext>
            </a:extLst>
          </p:cNvPr>
          <p:cNvSpPr/>
          <p:nvPr/>
        </p:nvSpPr>
        <p:spPr>
          <a:xfrm>
            <a:off x="2603667" y="2819400"/>
            <a:ext cx="6417141" cy="923330"/>
          </a:xfrm>
          <a:prstGeom prst="rect">
            <a:avLst/>
          </a:prstGeom>
          <a:noFill/>
        </p:spPr>
        <p:txBody>
          <a:bodyPr wrap="none" lIns="91440" tIns="45720" rIns="91440" bIns="45720">
            <a:spAutoFit/>
          </a:bodyPr>
          <a:lstStyle/>
          <a:p>
            <a:pPr algn="ctr"/>
            <a:r>
              <a:rPr lang="de-DE" altLang="zh-CN" sz="5400" dirty="0">
                <a:ln w="0"/>
                <a:effectLst>
                  <a:outerShdw blurRad="38100" dist="19050" dir="2700000" algn="tl" rotWithShape="0">
                    <a:schemeClr val="dk1">
                      <a:alpha val="40000"/>
                    </a:schemeClr>
                  </a:outerShdw>
                </a:effectLst>
              </a:rPr>
              <a:t>x</a:t>
            </a:r>
            <a:r>
              <a:rPr lang="de-DE" altLang="zh-CN" sz="5400" b="0" cap="none" spc="0" dirty="0">
                <a:ln w="0"/>
                <a:solidFill>
                  <a:schemeClr val="tx1"/>
                </a:solidFill>
                <a:effectLst>
                  <a:outerShdw blurRad="38100" dist="19050" dir="2700000" algn="tl" rotWithShape="0">
                    <a:schemeClr val="dk1">
                      <a:alpha val="40000"/>
                    </a:schemeClr>
                  </a:outerShdw>
                </a:effectLst>
              </a:rPr>
              <a:t>run_opts_4cocotb.f</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934147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3</a:t>
            </a:fld>
            <a:endParaRPr lang="en-US" dirty="0"/>
          </a:p>
        </p:txBody>
      </p:sp>
      <p:sp>
        <p:nvSpPr>
          <p:cNvPr id="8" name="Content Placeholder 2">
            <a:extLst>
              <a:ext uri="{FF2B5EF4-FFF2-40B4-BE49-F238E27FC236}">
                <a16:creationId xmlns:a16="http://schemas.microsoft.com/office/drawing/2014/main" id="{F7A5C9A5-7707-40BB-AD73-95D80FC2A102}"/>
              </a:ext>
            </a:extLst>
          </p:cNvPr>
          <p:cNvSpPr txBox="1">
            <a:spLocks/>
          </p:cNvSpPr>
          <p:nvPr/>
        </p:nvSpPr>
        <p:spPr>
          <a:xfrm>
            <a:off x="381000" y="1219200"/>
            <a:ext cx="11520000" cy="5113337"/>
          </a:xfrm>
          <a:prstGeom prst="rect">
            <a:avLst/>
          </a:prstGeom>
        </p:spPr>
        <p:txBody>
          <a:bodyPr vert="horz" lIns="0" tIns="0" rIns="0" bIns="0" rtlCol="0">
            <a:noAutofit/>
          </a:bodyPr>
          <a:lstStyle>
            <a:lvl1pPr marL="18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2000" baseline="0">
                <a:solidFill>
                  <a:schemeClr val="tx1"/>
                </a:solidFill>
                <a:latin typeface="+mn-lt"/>
                <a:ea typeface="+mn-ea"/>
                <a:cs typeface="+mn-cs"/>
              </a:defRPr>
            </a:lvl1pPr>
            <a:lvl2pPr marL="450000" indent="-270000" algn="l" defTabSz="576000" rtl="0" eaLnBrk="1" fontAlgn="base" hangingPunct="1">
              <a:spcBef>
                <a:spcPts val="0"/>
              </a:spcBef>
              <a:spcAft>
                <a:spcPts val="0"/>
              </a:spcAft>
              <a:buClr>
                <a:schemeClr val="accent1"/>
              </a:buClr>
              <a:buSzPct val="100000"/>
              <a:buFont typeface="Verdana" panose="020B0604030504040204" pitchFamily="34" charset="0"/>
              <a:buChar char="–"/>
              <a:defRPr sz="2000">
                <a:solidFill>
                  <a:schemeClr val="tx1"/>
                </a:solidFill>
                <a:latin typeface="+mn-lt"/>
                <a:ea typeface="+mn-ea"/>
                <a:cs typeface="+mn-cs"/>
              </a:defRPr>
            </a:lvl2pPr>
            <a:lvl3pPr marL="6300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800" baseline="0">
                <a:solidFill>
                  <a:schemeClr val="tx1"/>
                </a:solidFill>
                <a:latin typeface="+mn-lt"/>
                <a:ea typeface="+mn-ea"/>
                <a:cs typeface="+mn-cs"/>
              </a:defRPr>
            </a:lvl3pPr>
            <a:lvl4pPr marL="802800" indent="-172800" algn="l" defTabSz="576000" rtl="0" eaLnBrk="1" fontAlgn="base" hangingPunct="1">
              <a:spcBef>
                <a:spcPts val="0"/>
              </a:spcBef>
              <a:spcAft>
                <a:spcPts val="0"/>
              </a:spcAft>
              <a:buClr>
                <a:schemeClr val="accent1"/>
              </a:buClr>
              <a:buSzPct val="100000"/>
              <a:buFont typeface="Arial" panose="020B0604020202020204" pitchFamily="34" charset="0"/>
              <a:buChar char="–"/>
              <a:defRPr sz="1600" baseline="0">
                <a:solidFill>
                  <a:schemeClr val="tx1"/>
                </a:solidFill>
                <a:latin typeface="+mn-lt"/>
                <a:ea typeface="+mn-ea"/>
                <a:cs typeface="+mn-cs"/>
              </a:defRPr>
            </a:lvl4pPr>
            <a:lvl5pPr marL="982800" indent="-180000" algn="l" defTabSz="576000" rtl="0" eaLnBrk="1" fontAlgn="base" hangingPunct="1">
              <a:spcBef>
                <a:spcPts val="0"/>
              </a:spcBef>
              <a:spcAft>
                <a:spcPts val="0"/>
              </a:spcAft>
              <a:buClr>
                <a:schemeClr val="accent1"/>
              </a:buClr>
              <a:buSzPct val="100000"/>
              <a:buFont typeface="Arial" panose="020B0604020202020204" pitchFamily="34" charset="0"/>
              <a:buChar char="–"/>
              <a:defRPr sz="1400" baseline="0">
                <a:solidFill>
                  <a:schemeClr val="tx1"/>
                </a:solidFill>
                <a:latin typeface="+mn-lt"/>
                <a:ea typeface="+mn-ea"/>
                <a:cs typeface="+mn-cs"/>
              </a:defRPr>
            </a:lvl5pPr>
            <a:lvl6pPr marL="982800" indent="-180000" algn="l" defTabSz="576000" rtl="0" eaLnBrk="1" fontAlgn="base" hangingPunct="1">
              <a:spcBef>
                <a:spcPts val="0"/>
              </a:spcBef>
              <a:spcAft>
                <a:spcPts val="0"/>
              </a:spcAft>
              <a:buClr>
                <a:schemeClr val="accent1"/>
              </a:buClr>
              <a:buFont typeface="Arial" panose="020B0604020202020204" pitchFamily="34" charset="0"/>
              <a:buChar char="–"/>
              <a:defRPr sz="1400" baseline="0">
                <a:solidFill>
                  <a:schemeClr val="tx1"/>
                </a:solidFill>
                <a:latin typeface="+mn-lt"/>
                <a:cs typeface="+mn-cs"/>
              </a:defRPr>
            </a:lvl6pPr>
            <a:lvl7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7pPr>
            <a:lvl8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8pPr>
            <a:lvl9pPr marL="982800" indent="-180000" algn="l" defTabSz="576000" rtl="0" eaLnBrk="1" fontAlgn="base" hangingPunct="1">
              <a:spcBef>
                <a:spcPts val="0"/>
              </a:spcBef>
              <a:spcAft>
                <a:spcPct val="0"/>
              </a:spcAft>
              <a:buClr>
                <a:schemeClr val="accent1"/>
              </a:buClr>
              <a:buFont typeface="Arial" panose="020B0604020202020204" pitchFamily="34" charset="0"/>
              <a:buChar char="–"/>
              <a:defRPr sz="1400">
                <a:solidFill>
                  <a:schemeClr val="tx1"/>
                </a:solidFill>
                <a:latin typeface="+mn-lt"/>
                <a:cs typeface="+mn-cs"/>
              </a:defRPr>
            </a:lvl9pPr>
          </a:lstStyle>
          <a:p>
            <a:endParaRPr lang="de-DE" kern="0" dirty="0"/>
          </a:p>
        </p:txBody>
      </p:sp>
      <p:sp>
        <p:nvSpPr>
          <p:cNvPr id="10" name="Title 9">
            <a:extLst>
              <a:ext uri="{FF2B5EF4-FFF2-40B4-BE49-F238E27FC236}">
                <a16:creationId xmlns:a16="http://schemas.microsoft.com/office/drawing/2014/main" id="{DD437BD6-F5B6-F00D-A045-EA8D36541DA5}"/>
              </a:ext>
            </a:extLst>
          </p:cNvPr>
          <p:cNvSpPr>
            <a:spLocks noGrp="1"/>
          </p:cNvSpPr>
          <p:nvPr>
            <p:ph type="title"/>
          </p:nvPr>
        </p:nvSpPr>
        <p:spPr/>
        <p:txBody>
          <a:bodyPr/>
          <a:lstStyle/>
          <a:p>
            <a:r>
              <a:rPr lang="de-DE" altLang="zh-CN" dirty="0"/>
              <a:t>Functions Pakaging strategy</a:t>
            </a:r>
            <a:endParaRPr lang="de-DE" dirty="0"/>
          </a:p>
        </p:txBody>
      </p:sp>
      <p:sp>
        <p:nvSpPr>
          <p:cNvPr id="6" name="Content Placeholder 2">
            <a:extLst>
              <a:ext uri="{FF2B5EF4-FFF2-40B4-BE49-F238E27FC236}">
                <a16:creationId xmlns:a16="http://schemas.microsoft.com/office/drawing/2014/main" id="{0F72CD98-2EB0-F3AE-704E-E6760008E0F3}"/>
              </a:ext>
            </a:extLst>
          </p:cNvPr>
          <p:cNvSpPr>
            <a:spLocks noGrp="1"/>
          </p:cNvSpPr>
          <p:nvPr>
            <p:ph sz="quarter" idx="13"/>
          </p:nvPr>
        </p:nvSpPr>
        <p:spPr>
          <a:xfrm>
            <a:off x="266307" y="1219200"/>
            <a:ext cx="11520000" cy="5113337"/>
          </a:xfrm>
        </p:spPr>
        <p:txBody>
          <a:bodyPr/>
          <a:lstStyle/>
          <a:p>
            <a:r>
              <a:rPr lang="de-DE" dirty="0"/>
              <a:t>Two categories</a:t>
            </a:r>
          </a:p>
          <a:p>
            <a:endParaRPr lang="de-DE" dirty="0"/>
          </a:p>
          <a:p>
            <a:pPr lvl="1"/>
            <a:r>
              <a:rPr lang="de-DE" dirty="0"/>
              <a:t>1. Library Functions:</a:t>
            </a:r>
          </a:p>
          <a:p>
            <a:pPr lvl="1"/>
            <a:endParaRPr lang="de-DE" dirty="0"/>
          </a:p>
          <a:p>
            <a:pPr lvl="2"/>
            <a:r>
              <a:rPr lang="de-DE" dirty="0"/>
              <a:t>Functions never changed by users </a:t>
            </a:r>
            <a:br>
              <a:rPr lang="de-DE" dirty="0"/>
            </a:br>
            <a:r>
              <a:rPr lang="de-DE" dirty="0"/>
              <a:t>	(I still leave an imp in </a:t>
            </a:r>
            <a:r>
              <a:rPr lang="de-DE" altLang="zh-CN" dirty="0"/>
              <a:t>the</a:t>
            </a:r>
            <a:r>
              <a:rPr lang="de-DE" dirty="0"/>
              <a:t> template, but it is only for me to update or extend new functionality)</a:t>
            </a:r>
          </a:p>
          <a:p>
            <a:pPr lvl="1"/>
            <a:endParaRPr lang="de-DE" dirty="0"/>
          </a:p>
          <a:p>
            <a:pPr lvl="1"/>
            <a:r>
              <a:rPr lang="de-DE" dirty="0"/>
              <a:t>2. </a:t>
            </a:r>
            <a:r>
              <a:rPr lang="de-DE" altLang="zh-CN" dirty="0"/>
              <a:t>Interface Functions:</a:t>
            </a:r>
          </a:p>
          <a:p>
            <a:pPr lvl="1"/>
            <a:endParaRPr lang="de-DE" dirty="0"/>
          </a:p>
          <a:p>
            <a:pPr lvl="2"/>
            <a:r>
              <a:rPr lang="de-DE" dirty="0"/>
              <a:t>Functions needed to be adapted based on different cases -&gt; provided as templates</a:t>
            </a:r>
            <a:br>
              <a:rPr lang="de-DE" dirty="0"/>
            </a:br>
            <a:r>
              <a:rPr lang="de-DE" dirty="0"/>
              <a:t>	(Most of modifications are just variable-renaming, class-renaming for most of cases)</a:t>
            </a:r>
          </a:p>
          <a:p>
            <a:pPr lvl="1"/>
            <a:endParaRPr lang="de-DE" dirty="0"/>
          </a:p>
        </p:txBody>
      </p:sp>
    </p:spTree>
    <p:extLst>
      <p:ext uri="{BB962C8B-B14F-4D97-AF65-F5344CB8AC3E}">
        <p14:creationId xmlns:p14="http://schemas.microsoft.com/office/powerpoint/2010/main" val="20166163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0</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457200"/>
            <a:ext cx="9613068" cy="720000"/>
          </a:xfrm>
        </p:spPr>
        <p:txBody>
          <a:bodyPr/>
          <a:lstStyle/>
          <a:p>
            <a:r>
              <a:rPr lang="de-DE" dirty="0"/>
              <a:t>Intergration details guide</a:t>
            </a:r>
            <a:br>
              <a:rPr lang="en-GB" dirty="0"/>
            </a:br>
            <a:endParaRPr lang="de-DE" dirty="0"/>
          </a:p>
        </p:txBody>
      </p:sp>
      <p:pic>
        <p:nvPicPr>
          <p:cNvPr id="6" name="Picture 5">
            <a:extLst>
              <a:ext uri="{FF2B5EF4-FFF2-40B4-BE49-F238E27FC236}">
                <a16:creationId xmlns:a16="http://schemas.microsoft.com/office/drawing/2014/main" id="{BB924B92-7FE0-3A7A-FB05-958122CA0AAD}"/>
              </a:ext>
            </a:extLst>
          </p:cNvPr>
          <p:cNvPicPr>
            <a:picLocks noChangeAspect="1"/>
          </p:cNvPicPr>
          <p:nvPr/>
        </p:nvPicPr>
        <p:blipFill>
          <a:blip r:embed="rId2"/>
          <a:stretch>
            <a:fillRect/>
          </a:stretch>
        </p:blipFill>
        <p:spPr>
          <a:xfrm>
            <a:off x="309494" y="979446"/>
            <a:ext cx="8580040" cy="5421354"/>
          </a:xfrm>
          <a:prstGeom prst="rect">
            <a:avLst/>
          </a:prstGeom>
        </p:spPr>
      </p:pic>
      <p:sp>
        <p:nvSpPr>
          <p:cNvPr id="8" name="TextBox 7">
            <a:extLst>
              <a:ext uri="{FF2B5EF4-FFF2-40B4-BE49-F238E27FC236}">
                <a16:creationId xmlns:a16="http://schemas.microsoft.com/office/drawing/2014/main" id="{C20F11B0-ED4A-69F6-F712-435AFA4E2FDF}"/>
              </a:ext>
            </a:extLst>
          </p:cNvPr>
          <p:cNvSpPr txBox="1"/>
          <p:nvPr/>
        </p:nvSpPr>
        <p:spPr bwMode="auto">
          <a:xfrm>
            <a:off x="8991600" y="979446"/>
            <a:ext cx="3200400" cy="4278354"/>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2000" b="1" kern="0" baseline="0" dirty="0">
                <a:solidFill>
                  <a:schemeClr val="accent1"/>
                </a:solidFill>
                <a:latin typeface="+mn-lt"/>
                <a:ea typeface="+mn-ea"/>
                <a:cs typeface="+mn-cs"/>
              </a:rPr>
              <a:t>Cocotb makefile needs user mandatorily set the timescale.</a:t>
            </a:r>
            <a:br>
              <a:rPr lang="de-DE" sz="2000" b="1" kern="0" baseline="0" dirty="0">
                <a:solidFill>
                  <a:schemeClr val="accent1"/>
                </a:solidFill>
                <a:latin typeface="+mn-lt"/>
                <a:ea typeface="+mn-ea"/>
                <a:cs typeface="+mn-cs"/>
              </a:rPr>
            </a:br>
            <a:br>
              <a:rPr lang="de-DE" sz="2000" b="1" kern="0" baseline="0" dirty="0">
                <a:solidFill>
                  <a:schemeClr val="accent1"/>
                </a:solidFill>
                <a:latin typeface="+mn-lt"/>
                <a:ea typeface="+mn-ea"/>
                <a:cs typeface="+mn-cs"/>
              </a:rPr>
            </a:br>
            <a:r>
              <a:rPr lang="de-DE" sz="2000" b="1" kern="0" baseline="0" dirty="0">
                <a:solidFill>
                  <a:schemeClr val="accent1"/>
                </a:solidFill>
                <a:latin typeface="+mn-lt"/>
                <a:ea typeface="+mn-ea"/>
                <a:cs typeface="+mn-cs"/>
              </a:rPr>
              <a:t>So copy-paste the original xrun_opts.f, give it a new name, like xrun_opts_4cocotb.f and comment the timescale line.</a:t>
            </a:r>
            <a:endParaRPr lang="de-DE" sz="1400" kern="0" baseline="0" dirty="0">
              <a:latin typeface="+mn-lt"/>
              <a:ea typeface="+mn-ea"/>
              <a:cs typeface="+mn-cs"/>
              <a:sym typeface="Wingdings" panose="05000000000000000000" pitchFamily="2" charset="2"/>
            </a:endParaRPr>
          </a:p>
        </p:txBody>
      </p:sp>
      <p:sp>
        <p:nvSpPr>
          <p:cNvPr id="9" name="Rectangle 8">
            <a:extLst>
              <a:ext uri="{FF2B5EF4-FFF2-40B4-BE49-F238E27FC236}">
                <a16:creationId xmlns:a16="http://schemas.microsoft.com/office/drawing/2014/main" id="{26552929-7991-1440-79F5-A9182120D36E}"/>
              </a:ext>
            </a:extLst>
          </p:cNvPr>
          <p:cNvSpPr/>
          <p:nvPr/>
        </p:nvSpPr>
        <p:spPr bwMode="auto">
          <a:xfrm>
            <a:off x="1066800" y="4491648"/>
            <a:ext cx="1905000" cy="2286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4183465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1</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457200"/>
            <a:ext cx="9613068" cy="720000"/>
          </a:xfrm>
        </p:spPr>
        <p:txBody>
          <a:bodyPr/>
          <a:lstStyle/>
          <a:p>
            <a:r>
              <a:rPr lang="de-DE" dirty="0"/>
              <a:t>Intergration details guide</a:t>
            </a:r>
            <a:br>
              <a:rPr lang="en-GB" dirty="0"/>
            </a:br>
            <a:endParaRPr lang="de-DE" dirty="0"/>
          </a:p>
        </p:txBody>
      </p:sp>
      <p:sp>
        <p:nvSpPr>
          <p:cNvPr id="7" name="Rectangle 6">
            <a:extLst>
              <a:ext uri="{FF2B5EF4-FFF2-40B4-BE49-F238E27FC236}">
                <a16:creationId xmlns:a16="http://schemas.microsoft.com/office/drawing/2014/main" id="{9CB57EA6-9C77-BA5C-E0CE-7561B48B59ED}"/>
              </a:ext>
            </a:extLst>
          </p:cNvPr>
          <p:cNvSpPr/>
          <p:nvPr/>
        </p:nvSpPr>
        <p:spPr>
          <a:xfrm>
            <a:off x="4431085" y="2819400"/>
            <a:ext cx="2762296" cy="923330"/>
          </a:xfrm>
          <a:prstGeom prst="rect">
            <a:avLst/>
          </a:prstGeom>
          <a:noFill/>
        </p:spPr>
        <p:txBody>
          <a:bodyPr wrap="none" lIns="91440" tIns="45720" rIns="91440" bIns="45720">
            <a:spAutoFit/>
          </a:bodyPr>
          <a:lstStyle/>
          <a:p>
            <a:pPr algn="ctr"/>
            <a:r>
              <a:rPr lang="en-US" sz="5400" b="0" cap="none" spc="0" dirty="0" err="1">
                <a:ln w="0"/>
                <a:solidFill>
                  <a:schemeClr val="tx1"/>
                </a:solidFill>
                <a:effectLst>
                  <a:outerShdw blurRad="38100" dist="19050" dir="2700000" algn="tl" rotWithShape="0">
                    <a:schemeClr val="dk1">
                      <a:alpha val="40000"/>
                    </a:schemeClr>
                  </a:outerShdw>
                </a:effectLst>
              </a:rPr>
              <a:t>Makefile</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8902771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CC8A9A-7912-295C-8EC5-5CD3DFCC23BB}"/>
              </a:ext>
            </a:extLst>
          </p:cNvPr>
          <p:cNvPicPr>
            <a:picLocks noGrp="1" noRot="1" noChangeAspect="1" noMove="1" noResize="1" noEditPoints="1" noAdjustHandles="1" noChangeArrowheads="1" noChangeShapeType="1" noCrop="1"/>
          </p:cNvPicPr>
          <p:nvPr/>
        </p:nvPicPr>
        <p:blipFill rotWithShape="1">
          <a:blip r:embed="rId3"/>
          <a:srcRect l="19653" t="4462"/>
          <a:stretch/>
        </p:blipFill>
        <p:spPr>
          <a:xfrm>
            <a:off x="2667000" y="1524000"/>
            <a:ext cx="8722994" cy="4895456"/>
          </a:xfrm>
          <a:prstGeom prst="rect">
            <a:avLst/>
          </a:prstGeom>
        </p:spPr>
      </p:pic>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2</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931916"/>
            <a:ext cx="9613068" cy="720000"/>
          </a:xfrm>
        </p:spPr>
        <p:txBody>
          <a:bodyPr/>
          <a:lstStyle/>
          <a:p>
            <a:r>
              <a:rPr lang="de-DE" b="1" dirty="0"/>
              <a:t>Intergration details guide </a:t>
            </a:r>
            <a:br>
              <a:rPr lang="de-DE" b="1" dirty="0"/>
            </a:br>
            <a:r>
              <a:rPr lang="en-GB" dirty="0"/>
              <a:t>/units/ </a:t>
            </a:r>
            <a:r>
              <a:rPr lang="en-GB" dirty="0" err="1"/>
              <a:t>d_pyuvm</a:t>
            </a:r>
            <a:r>
              <a:rPr lang="en-GB" dirty="0"/>
              <a:t>/simulation/</a:t>
            </a:r>
            <a:r>
              <a:rPr lang="en-GB" dirty="0" err="1"/>
              <a:t>pyuvm_sim</a:t>
            </a:r>
            <a:r>
              <a:rPr lang="en-GB" dirty="0"/>
              <a:t> /</a:t>
            </a:r>
            <a:r>
              <a:rPr lang="en-GB" dirty="0" err="1"/>
              <a:t>Makefile</a:t>
            </a:r>
            <a:br>
              <a:rPr lang="en-GB" dirty="0"/>
            </a:br>
            <a:endParaRPr lang="de-DE" dirty="0"/>
          </a:p>
        </p:txBody>
      </p:sp>
      <p:sp>
        <p:nvSpPr>
          <p:cNvPr id="8" name="Rectangle 7">
            <a:extLst>
              <a:ext uri="{FF2B5EF4-FFF2-40B4-BE49-F238E27FC236}">
                <a16:creationId xmlns:a16="http://schemas.microsoft.com/office/drawing/2014/main" id="{FD592028-4A14-5C5D-C2AD-10F3251AF0E8}"/>
              </a:ext>
            </a:extLst>
          </p:cNvPr>
          <p:cNvSpPr/>
          <p:nvPr/>
        </p:nvSpPr>
        <p:spPr bwMode="auto">
          <a:xfrm>
            <a:off x="3657600" y="4572000"/>
            <a:ext cx="1600200" cy="22860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9" name="Rectangle 8">
            <a:extLst>
              <a:ext uri="{FF2B5EF4-FFF2-40B4-BE49-F238E27FC236}">
                <a16:creationId xmlns:a16="http://schemas.microsoft.com/office/drawing/2014/main" id="{87B26413-63CE-167D-0EDE-269AEB48C7A2}"/>
              </a:ext>
            </a:extLst>
          </p:cNvPr>
          <p:cNvSpPr/>
          <p:nvPr/>
        </p:nvSpPr>
        <p:spPr bwMode="auto">
          <a:xfrm>
            <a:off x="3200400" y="2232744"/>
            <a:ext cx="5181600" cy="662856"/>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41072403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E04B13-D0C1-3221-C5AA-62A765FCD263}"/>
              </a:ext>
            </a:extLst>
          </p:cNvPr>
          <p:cNvPicPr>
            <a:picLocks noGrp="1" noRot="1" noChangeAspect="1" noMove="1" noResize="1" noEditPoints="1" noAdjustHandles="1" noChangeArrowheads="1" noChangeShapeType="1" noCrop="1"/>
          </p:cNvPicPr>
          <p:nvPr/>
        </p:nvPicPr>
        <p:blipFill>
          <a:blip r:embed="rId3"/>
          <a:stretch>
            <a:fillRect/>
          </a:stretch>
        </p:blipFill>
        <p:spPr>
          <a:xfrm>
            <a:off x="1271587" y="1371600"/>
            <a:ext cx="9091613" cy="4693893"/>
          </a:xfrm>
          <a:prstGeom prst="rect">
            <a:avLst/>
          </a:prstGeom>
        </p:spPr>
      </p:pic>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3</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931916"/>
            <a:ext cx="9613068" cy="720000"/>
          </a:xfrm>
        </p:spPr>
        <p:txBody>
          <a:bodyPr/>
          <a:lstStyle/>
          <a:p>
            <a:r>
              <a:rPr lang="de-DE" b="1" dirty="0"/>
              <a:t>Intergration details guide </a:t>
            </a:r>
            <a:r>
              <a:rPr lang="en-GB" dirty="0"/>
              <a:t>/units/</a:t>
            </a:r>
            <a:r>
              <a:rPr lang="en-GB" dirty="0" err="1"/>
              <a:t>d_pyuvm</a:t>
            </a:r>
            <a:r>
              <a:rPr lang="en-GB" dirty="0"/>
              <a:t>/simulation/</a:t>
            </a:r>
            <a:r>
              <a:rPr lang="en-GB" dirty="0" err="1"/>
              <a:t>pyuvm_sim</a:t>
            </a:r>
            <a:r>
              <a:rPr lang="en-GB" dirty="0"/>
              <a:t>/</a:t>
            </a:r>
            <a:r>
              <a:rPr lang="en-GB" dirty="0" err="1"/>
              <a:t>Makefile</a:t>
            </a:r>
            <a:br>
              <a:rPr lang="en-GB" dirty="0"/>
            </a:br>
            <a:endParaRPr lang="de-DE" dirty="0"/>
          </a:p>
        </p:txBody>
      </p:sp>
      <p:sp>
        <p:nvSpPr>
          <p:cNvPr id="8" name="Rectangle 7">
            <a:extLst>
              <a:ext uri="{FF2B5EF4-FFF2-40B4-BE49-F238E27FC236}">
                <a16:creationId xmlns:a16="http://schemas.microsoft.com/office/drawing/2014/main" id="{FD592028-4A14-5C5D-C2AD-10F3251AF0E8}"/>
              </a:ext>
            </a:extLst>
          </p:cNvPr>
          <p:cNvSpPr/>
          <p:nvPr/>
        </p:nvSpPr>
        <p:spPr bwMode="auto">
          <a:xfrm>
            <a:off x="7696200" y="5638800"/>
            <a:ext cx="2362200" cy="287284"/>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Tree>
    <p:extLst>
      <p:ext uri="{BB962C8B-B14F-4D97-AF65-F5344CB8AC3E}">
        <p14:creationId xmlns:p14="http://schemas.microsoft.com/office/powerpoint/2010/main" val="21756017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4</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457200"/>
            <a:ext cx="9613068" cy="720000"/>
          </a:xfrm>
        </p:spPr>
        <p:txBody>
          <a:bodyPr/>
          <a:lstStyle/>
          <a:p>
            <a:r>
              <a:rPr lang="de-DE" dirty="0"/>
              <a:t>Intergration details guide</a:t>
            </a:r>
            <a:br>
              <a:rPr lang="en-GB" dirty="0"/>
            </a:br>
            <a:endParaRPr lang="de-DE" dirty="0"/>
          </a:p>
        </p:txBody>
      </p:sp>
      <p:sp>
        <p:nvSpPr>
          <p:cNvPr id="7" name="Rectangle 6">
            <a:extLst>
              <a:ext uri="{FF2B5EF4-FFF2-40B4-BE49-F238E27FC236}">
                <a16:creationId xmlns:a16="http://schemas.microsoft.com/office/drawing/2014/main" id="{9CB57EA6-9C77-BA5C-E0CE-7561B48B59ED}"/>
              </a:ext>
            </a:extLst>
          </p:cNvPr>
          <p:cNvSpPr/>
          <p:nvPr/>
        </p:nvSpPr>
        <p:spPr>
          <a:xfrm>
            <a:off x="4046368" y="2819400"/>
            <a:ext cx="3531736" cy="923330"/>
          </a:xfrm>
          <a:prstGeom prst="rect">
            <a:avLst/>
          </a:prstGeom>
          <a:noFill/>
        </p:spPr>
        <p:txBody>
          <a:bodyPr wrap="none" lIns="91440" tIns="45720" rIns="91440" bIns="45720">
            <a:spAutoFit/>
          </a:bodyPr>
          <a:lstStyle/>
          <a:p>
            <a:pPr algn="ctr"/>
            <a:r>
              <a:rPr lang="de-DE" altLang="zh-CN" sz="5400" dirty="0">
                <a:ln w="0"/>
                <a:effectLst>
                  <a:outerShdw blurRad="38100" dist="19050" dir="2700000" algn="tl" rotWithShape="0">
                    <a:schemeClr val="dk1">
                      <a:alpha val="40000"/>
                    </a:schemeClr>
                  </a:outerShdw>
                </a:effectLst>
              </a:rPr>
              <a:t>x</a:t>
            </a:r>
            <a:r>
              <a:rPr lang="de-DE" altLang="zh-CN" sz="5400" b="0" cap="none" spc="0" dirty="0">
                <a:ln w="0"/>
                <a:solidFill>
                  <a:schemeClr val="tx1"/>
                </a:solidFill>
                <a:effectLst>
                  <a:outerShdw blurRad="38100" dist="19050" dir="2700000" algn="tl" rotWithShape="0">
                    <a:schemeClr val="dk1">
                      <a:alpha val="40000"/>
                    </a:schemeClr>
                  </a:outerShdw>
                </a:effectLst>
              </a:rPr>
              <a:t>run_files.f</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3139587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01BAFF-E83A-30A1-7BEB-8516FB5DBD47}"/>
              </a:ext>
            </a:extLst>
          </p:cNvPr>
          <p:cNvPicPr>
            <a:picLocks noGrp="1" noRot="1" noChangeAspect="1" noMove="1" noResize="1" noEditPoints="1" noAdjustHandles="1" noChangeArrowheads="1" noChangeShapeType="1" noCrop="1"/>
          </p:cNvPicPr>
          <p:nvPr/>
        </p:nvPicPr>
        <p:blipFill>
          <a:blip r:embed="rId3"/>
          <a:stretch>
            <a:fillRect/>
          </a:stretch>
        </p:blipFill>
        <p:spPr>
          <a:xfrm>
            <a:off x="344448" y="1291916"/>
            <a:ext cx="5389188" cy="5486400"/>
          </a:xfrm>
          <a:prstGeom prst="rect">
            <a:avLst/>
          </a:prstGeom>
        </p:spPr>
      </p:pic>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5</a:t>
            </a:fld>
            <a:endParaRPr lang="en-US" dirty="0"/>
          </a:p>
        </p:txBody>
      </p:sp>
      <p:sp>
        <p:nvSpPr>
          <p:cNvPr id="3" name="Rectangle 2">
            <a:extLst>
              <a:ext uri="{FF2B5EF4-FFF2-40B4-BE49-F238E27FC236}">
                <a16:creationId xmlns:a16="http://schemas.microsoft.com/office/drawing/2014/main" id="{A9689155-F176-0FC7-A8BC-20E02E4CA5AF}"/>
              </a:ext>
            </a:extLst>
          </p:cNvPr>
          <p:cNvSpPr/>
          <p:nvPr/>
        </p:nvSpPr>
        <p:spPr bwMode="auto">
          <a:xfrm>
            <a:off x="850084" y="5877881"/>
            <a:ext cx="4407715" cy="61146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8" name="Rectangle 7">
            <a:extLst>
              <a:ext uri="{FF2B5EF4-FFF2-40B4-BE49-F238E27FC236}">
                <a16:creationId xmlns:a16="http://schemas.microsoft.com/office/drawing/2014/main" id="{43CA3BE1-C2BB-D6FB-6167-4C1A64C78D11}"/>
              </a:ext>
            </a:extLst>
          </p:cNvPr>
          <p:cNvSpPr/>
          <p:nvPr/>
        </p:nvSpPr>
        <p:spPr bwMode="auto">
          <a:xfrm>
            <a:off x="990600" y="1998716"/>
            <a:ext cx="3581400" cy="287284"/>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1" name="Title 4">
            <a:extLst>
              <a:ext uri="{FF2B5EF4-FFF2-40B4-BE49-F238E27FC236}">
                <a16:creationId xmlns:a16="http://schemas.microsoft.com/office/drawing/2014/main" id="{E49827A2-7408-3AB1-75A3-2F50DCD523EE}"/>
              </a:ext>
            </a:extLst>
          </p:cNvPr>
          <p:cNvSpPr txBox="1">
            <a:spLocks/>
          </p:cNvSpPr>
          <p:nvPr/>
        </p:nvSpPr>
        <p:spPr>
          <a:xfrm>
            <a:off x="335360" y="931916"/>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b="1" kern="0" dirty="0"/>
              <a:t>Intergration details guide </a:t>
            </a:r>
            <a:br>
              <a:rPr lang="de-DE" b="1" kern="0" dirty="0"/>
            </a:br>
            <a:r>
              <a:rPr lang="en-GB" kern="0" dirty="0"/>
              <a:t>/units/</a:t>
            </a:r>
            <a:r>
              <a:rPr lang="en-GB" dirty="0"/>
              <a:t> </a:t>
            </a:r>
            <a:r>
              <a:rPr lang="en-GB" dirty="0" err="1"/>
              <a:t>d_pyuvm</a:t>
            </a:r>
            <a:r>
              <a:rPr lang="en-GB" dirty="0"/>
              <a:t>/simulation/</a:t>
            </a:r>
            <a:r>
              <a:rPr lang="en-GB" dirty="0" err="1"/>
              <a:t>pyuvm_sim</a:t>
            </a:r>
            <a:r>
              <a:rPr lang="en-GB" dirty="0"/>
              <a:t> </a:t>
            </a:r>
            <a:r>
              <a:rPr lang="en-GB" kern="0" dirty="0"/>
              <a:t>/env/</a:t>
            </a:r>
            <a:r>
              <a:rPr lang="en-GB" kern="0" dirty="0" err="1"/>
              <a:t>xrun_files.f</a:t>
            </a:r>
            <a:br>
              <a:rPr lang="en-GB" kern="0" dirty="0"/>
            </a:br>
            <a:endParaRPr lang="de-DE" kern="0" dirty="0"/>
          </a:p>
        </p:txBody>
      </p:sp>
      <p:sp>
        <p:nvSpPr>
          <p:cNvPr id="12" name="Rectangle 11">
            <a:extLst>
              <a:ext uri="{FF2B5EF4-FFF2-40B4-BE49-F238E27FC236}">
                <a16:creationId xmlns:a16="http://schemas.microsoft.com/office/drawing/2014/main" id="{77968157-2BE2-162A-BC4D-F6C28A7A5965}"/>
              </a:ext>
            </a:extLst>
          </p:cNvPr>
          <p:cNvSpPr/>
          <p:nvPr/>
        </p:nvSpPr>
        <p:spPr bwMode="auto">
          <a:xfrm>
            <a:off x="962637" y="3620577"/>
            <a:ext cx="2771982" cy="199210"/>
          </a:xfrm>
          <a:prstGeom prst="rect">
            <a:avLst/>
          </a:prstGeom>
          <a:noFill/>
          <a:ln>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rtlCol="0" anchor="ctr"/>
          <a:lstStyle/>
          <a:p>
            <a:pPr algn="ctr" eaLnBrk="0" hangingPunct="0"/>
            <a:endParaRPr lang="de-DE" sz="1600" baseline="0" dirty="0">
              <a:latin typeface="+mn-lt"/>
              <a:ea typeface="+mn-ea"/>
              <a:cs typeface="+mn-cs"/>
            </a:endParaRPr>
          </a:p>
        </p:txBody>
      </p:sp>
      <p:sp>
        <p:nvSpPr>
          <p:cNvPr id="13" name="TextBox 12">
            <a:extLst>
              <a:ext uri="{FF2B5EF4-FFF2-40B4-BE49-F238E27FC236}">
                <a16:creationId xmlns:a16="http://schemas.microsoft.com/office/drawing/2014/main" id="{796A70FD-D70D-8C3B-C980-39872222B73D}"/>
              </a:ext>
            </a:extLst>
          </p:cNvPr>
          <p:cNvSpPr txBox="1"/>
          <p:nvPr/>
        </p:nvSpPr>
        <p:spPr bwMode="auto">
          <a:xfrm>
            <a:off x="6667754" y="1400950"/>
            <a:ext cx="4419601" cy="3512202"/>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2000" b="1" kern="0" baseline="0" dirty="0">
                <a:solidFill>
                  <a:schemeClr val="accent1"/>
                </a:solidFill>
                <a:latin typeface="+mn-lt"/>
                <a:ea typeface="+mn-ea"/>
                <a:cs typeface="+mn-cs"/>
              </a:rPr>
              <a:t>In python, we have a testbench and in sv, we reuse the original one.</a:t>
            </a:r>
            <a:br>
              <a:rPr lang="de-DE" sz="2000" b="1" kern="0" baseline="0" dirty="0">
                <a:solidFill>
                  <a:schemeClr val="accent1"/>
                </a:solidFill>
                <a:latin typeface="+mn-lt"/>
                <a:ea typeface="+mn-ea"/>
                <a:cs typeface="+mn-cs"/>
              </a:rPr>
            </a:br>
            <a:br>
              <a:rPr lang="de-DE" sz="2000" b="1" kern="0" baseline="0" dirty="0">
                <a:solidFill>
                  <a:schemeClr val="accent1"/>
                </a:solidFill>
                <a:latin typeface="+mn-lt"/>
                <a:ea typeface="+mn-ea"/>
                <a:cs typeface="+mn-cs"/>
              </a:rPr>
            </a:br>
            <a:r>
              <a:rPr lang="de-DE" sz="2000" b="1" kern="0" baseline="0" dirty="0">
                <a:solidFill>
                  <a:schemeClr val="accent1"/>
                </a:solidFill>
                <a:latin typeface="+mn-lt"/>
                <a:ea typeface="+mn-ea"/>
                <a:cs typeface="+mn-cs"/>
              </a:rPr>
              <a:t>So copy-paste the original xrun_files.f and modify where the red box shows.</a:t>
            </a:r>
            <a:endParaRPr lang="de-DE" sz="1400" kern="0" baseline="0" dirty="0">
              <a:latin typeface="+mn-lt"/>
              <a:ea typeface="+mn-ea"/>
              <a:cs typeface="+mn-cs"/>
              <a:sym typeface="Wingdings" panose="05000000000000000000" pitchFamily="2" charset="2"/>
            </a:endParaRPr>
          </a:p>
        </p:txBody>
      </p:sp>
    </p:spTree>
    <p:extLst>
      <p:ext uri="{BB962C8B-B14F-4D97-AF65-F5344CB8AC3E}">
        <p14:creationId xmlns:p14="http://schemas.microsoft.com/office/powerpoint/2010/main" val="13464495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6</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457200"/>
            <a:ext cx="9613068" cy="720000"/>
          </a:xfrm>
        </p:spPr>
        <p:txBody>
          <a:bodyPr/>
          <a:lstStyle/>
          <a:p>
            <a:r>
              <a:rPr lang="de-DE" dirty="0"/>
              <a:t>Intergration details guide</a:t>
            </a:r>
            <a:br>
              <a:rPr lang="en-GB" dirty="0"/>
            </a:br>
            <a:endParaRPr lang="de-DE" dirty="0"/>
          </a:p>
        </p:txBody>
      </p:sp>
      <p:sp>
        <p:nvSpPr>
          <p:cNvPr id="7" name="Rectangle 6">
            <a:extLst>
              <a:ext uri="{FF2B5EF4-FFF2-40B4-BE49-F238E27FC236}">
                <a16:creationId xmlns:a16="http://schemas.microsoft.com/office/drawing/2014/main" id="{9CB57EA6-9C77-BA5C-E0CE-7561B48B59ED}"/>
              </a:ext>
            </a:extLst>
          </p:cNvPr>
          <p:cNvSpPr/>
          <p:nvPr/>
        </p:nvSpPr>
        <p:spPr>
          <a:xfrm>
            <a:off x="3430818" y="2819400"/>
            <a:ext cx="4762843" cy="923330"/>
          </a:xfrm>
          <a:prstGeom prst="rect">
            <a:avLst/>
          </a:prstGeom>
          <a:noFill/>
        </p:spPr>
        <p:txBody>
          <a:bodyPr wrap="none" lIns="91440" tIns="45720" rIns="91440" bIns="45720">
            <a:spAutoFit/>
          </a:bodyPr>
          <a:lstStyle/>
          <a:p>
            <a:pPr algn="ctr"/>
            <a:r>
              <a:rPr lang="de-DE" altLang="zh-CN" sz="5400" dirty="0">
                <a:ln w="0"/>
                <a:effectLst>
                  <a:outerShdw blurRad="38100" dist="19050" dir="2700000" algn="tl" rotWithShape="0">
                    <a:schemeClr val="dk1">
                      <a:alpha val="40000"/>
                    </a:schemeClr>
                  </a:outerShdw>
                </a:effectLst>
              </a:rPr>
              <a:t>Run simulation</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4956707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693D9E-3114-984B-9CB6-C70F33164C4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D0D058-144A-B989-E303-3A1A5F3F4687}"/>
              </a:ext>
            </a:extLst>
          </p:cNvPr>
          <p:cNvSpPr>
            <a:spLocks noGrp="1"/>
          </p:cNvSpPr>
          <p:nvPr>
            <p:ph type="sldNum" sz="quarter" idx="12"/>
          </p:nvPr>
        </p:nvSpPr>
        <p:spPr/>
        <p:txBody>
          <a:bodyPr/>
          <a:lstStyle/>
          <a:p>
            <a:fld id="{BA925C6C-614A-4D70-B313-7ADCEE25F184}" type="slidenum">
              <a:rPr lang="en-US" smtClean="0"/>
              <a:pPr/>
              <a:t>37</a:t>
            </a:fld>
            <a:endParaRPr lang="en-US" dirty="0"/>
          </a:p>
        </p:txBody>
      </p:sp>
      <p:sp>
        <p:nvSpPr>
          <p:cNvPr id="5" name="Title 4">
            <a:extLst>
              <a:ext uri="{FF2B5EF4-FFF2-40B4-BE49-F238E27FC236}">
                <a16:creationId xmlns:a16="http://schemas.microsoft.com/office/drawing/2014/main" id="{41946549-7FA7-7D0A-D5AD-FC532E8DA41D}"/>
              </a:ext>
            </a:extLst>
          </p:cNvPr>
          <p:cNvSpPr>
            <a:spLocks noGrp="1"/>
          </p:cNvSpPr>
          <p:nvPr>
            <p:ph type="title"/>
          </p:nvPr>
        </p:nvSpPr>
        <p:spPr>
          <a:xfrm>
            <a:off x="335360" y="457200"/>
            <a:ext cx="9613068" cy="720000"/>
          </a:xfrm>
        </p:spPr>
        <p:txBody>
          <a:bodyPr/>
          <a:lstStyle/>
          <a:p>
            <a:r>
              <a:rPr lang="de-DE" dirty="0"/>
              <a:t>Intergration details guide</a:t>
            </a:r>
            <a:br>
              <a:rPr lang="en-GB" dirty="0"/>
            </a:br>
            <a:endParaRPr lang="de-DE" dirty="0"/>
          </a:p>
        </p:txBody>
      </p:sp>
      <p:sp>
        <p:nvSpPr>
          <p:cNvPr id="3" name="TextBox 2">
            <a:extLst>
              <a:ext uri="{FF2B5EF4-FFF2-40B4-BE49-F238E27FC236}">
                <a16:creationId xmlns:a16="http://schemas.microsoft.com/office/drawing/2014/main" id="{A9D942C8-0DD3-50D1-E9E0-2FCD0C08FE00}"/>
              </a:ext>
            </a:extLst>
          </p:cNvPr>
          <p:cNvSpPr txBox="1"/>
          <p:nvPr/>
        </p:nvSpPr>
        <p:spPr bwMode="auto">
          <a:xfrm>
            <a:off x="1143000" y="795528"/>
            <a:ext cx="7315200" cy="3512202"/>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2000" b="1" kern="0" baseline="0" dirty="0">
                <a:latin typeface="+mn-lt"/>
                <a:ea typeface="+mn-ea"/>
                <a:cs typeface="+mn-cs"/>
              </a:rPr>
              <a:t>Now you can run simulation through </a:t>
            </a:r>
            <a:br>
              <a:rPr lang="de-DE" sz="2000" b="1" kern="0" baseline="0" dirty="0">
                <a:solidFill>
                  <a:schemeClr val="accent1"/>
                </a:solidFill>
                <a:latin typeface="+mn-lt"/>
                <a:ea typeface="+mn-ea"/>
                <a:cs typeface="+mn-cs"/>
              </a:rPr>
            </a:br>
            <a:r>
              <a:rPr lang="de-DE" sz="2000" b="1" kern="0" baseline="0" dirty="0">
                <a:solidFill>
                  <a:schemeClr val="accent1"/>
                </a:solidFill>
                <a:latin typeface="+mn-lt"/>
                <a:ea typeface="+mn-ea"/>
                <a:cs typeface="+mn-cs"/>
              </a:rPr>
              <a:t>	ifxxcelium execute_pyuvm_RV2DEMO –gui</a:t>
            </a:r>
            <a:endParaRPr lang="de-DE" sz="1400" kern="0" baseline="0" dirty="0">
              <a:latin typeface="+mn-lt"/>
              <a:ea typeface="+mn-ea"/>
              <a:cs typeface="+mn-cs"/>
              <a:sym typeface="Wingdings" panose="05000000000000000000" pitchFamily="2" charset="2"/>
            </a:endParaRPr>
          </a:p>
        </p:txBody>
      </p:sp>
    </p:spTree>
    <p:extLst>
      <p:ext uri="{BB962C8B-B14F-4D97-AF65-F5344CB8AC3E}">
        <p14:creationId xmlns:p14="http://schemas.microsoft.com/office/powerpoint/2010/main" val="3405782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12192000" y="6858000"/>
            <a:ext cx="0" cy="0"/>
          </a:xfrm>
        </p:spPr>
        <p:txBody>
          <a:bodyPr/>
          <a:lstStyle/>
          <a:p>
            <a:endParaRPr lang="en-US" dirty="0"/>
          </a:p>
        </p:txBody>
      </p:sp>
      <p:sp>
        <p:nvSpPr>
          <p:cNvPr id="7" name="Slide Number Placeholder 6"/>
          <p:cNvSpPr>
            <a:spLocks noGrp="1"/>
          </p:cNvSpPr>
          <p:nvPr>
            <p:ph type="sldNum" sz="quarter" idx="12"/>
          </p:nvPr>
        </p:nvSpPr>
        <p:spPr>
          <a:xfrm>
            <a:off x="11087355" y="6489341"/>
            <a:ext cx="384048" cy="361460"/>
          </a:xfrm>
        </p:spPr>
        <p:txBody>
          <a:bodyPr/>
          <a:lstStyle/>
          <a:p>
            <a:fld id="{BA925C6C-614A-4D70-B313-7ADCEE25F184}" type="slidenum">
              <a:rPr lang="en-US"/>
              <a:pPr/>
              <a:t>38</a:t>
            </a:fld>
            <a:endParaRPr lang="en-US" dirty="0"/>
          </a:p>
        </p:txBody>
      </p:sp>
    </p:spTree>
    <p:extLst>
      <p:ext uri="{BB962C8B-B14F-4D97-AF65-F5344CB8AC3E}">
        <p14:creationId xmlns:p14="http://schemas.microsoft.com/office/powerpoint/2010/main" val="1656696454"/>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7AD31-9B71-712A-A879-EBC50246929B}"/>
              </a:ext>
            </a:extLst>
          </p:cNvPr>
          <p:cNvPicPr>
            <a:picLocks noChangeAspect="1"/>
          </p:cNvPicPr>
          <p:nvPr/>
        </p:nvPicPr>
        <p:blipFill>
          <a:blip r:embed="rId3"/>
          <a:stretch>
            <a:fillRect/>
          </a:stretch>
        </p:blipFill>
        <p:spPr>
          <a:xfrm>
            <a:off x="2607349" y="2299865"/>
            <a:ext cx="5909613" cy="2079149"/>
          </a:xfrm>
          <a:prstGeom prst="rect">
            <a:avLst/>
          </a:prstGeom>
        </p:spPr>
      </p:pic>
      <p:sp>
        <p:nvSpPr>
          <p:cNvPr id="2" name="Footer Placeholder 1">
            <a:extLst>
              <a:ext uri="{FF2B5EF4-FFF2-40B4-BE49-F238E27FC236}">
                <a16:creationId xmlns:a16="http://schemas.microsoft.com/office/drawing/2014/main" id="{EE49A638-2B56-43FC-B1E6-4A55B22DC8AB}"/>
              </a:ext>
            </a:extLst>
          </p:cNvPr>
          <p:cNvSpPr>
            <a:spLocks noGrp="1"/>
          </p:cNvSpPr>
          <p:nvPr>
            <p:ph type="ftr" sz="quarter" idx="11"/>
          </p:nvPr>
        </p:nvSpPr>
        <p:spPr>
          <a:xfrm>
            <a:off x="12325114" y="6802756"/>
            <a:ext cx="0" cy="0"/>
          </a:xfrm>
        </p:spPr>
        <p:txBody>
          <a:bodyPr/>
          <a:lstStyle/>
          <a:p>
            <a:endParaRPr lang="en-US" dirty="0"/>
          </a:p>
        </p:txBody>
      </p:sp>
      <p:sp>
        <p:nvSpPr>
          <p:cNvPr id="4" name="Slide Number Placeholder 3">
            <a:extLst>
              <a:ext uri="{FF2B5EF4-FFF2-40B4-BE49-F238E27FC236}">
                <a16:creationId xmlns:a16="http://schemas.microsoft.com/office/drawing/2014/main" id="{2747DAA6-6A57-4D98-86DF-52AE5342FF85}"/>
              </a:ext>
            </a:extLst>
          </p:cNvPr>
          <p:cNvSpPr>
            <a:spLocks noGrp="1"/>
          </p:cNvSpPr>
          <p:nvPr>
            <p:ph type="sldNum" sz="quarter" idx="12"/>
          </p:nvPr>
        </p:nvSpPr>
        <p:spPr>
          <a:xfrm>
            <a:off x="11205058" y="6496540"/>
            <a:ext cx="384048" cy="361460"/>
          </a:xfrm>
        </p:spPr>
        <p:txBody>
          <a:bodyPr/>
          <a:lstStyle/>
          <a:p>
            <a:fld id="{BA925C6C-614A-4D70-B313-7ADCEE25F184}" type="slidenum">
              <a:rPr lang="en-US" smtClean="0"/>
              <a:pPr/>
              <a:t>4</a:t>
            </a:fld>
            <a:endParaRPr lang="en-US" dirty="0"/>
          </a:p>
        </p:txBody>
      </p:sp>
      <p:sp>
        <p:nvSpPr>
          <p:cNvPr id="7" name="Title 6">
            <a:extLst>
              <a:ext uri="{FF2B5EF4-FFF2-40B4-BE49-F238E27FC236}">
                <a16:creationId xmlns:a16="http://schemas.microsoft.com/office/drawing/2014/main" id="{9A6C26BB-6DAD-C29B-F3A7-EC4FD5210388}"/>
              </a:ext>
            </a:extLst>
          </p:cNvPr>
          <p:cNvSpPr>
            <a:spLocks noGrp="1"/>
          </p:cNvSpPr>
          <p:nvPr>
            <p:ph type="title"/>
          </p:nvPr>
        </p:nvSpPr>
        <p:spPr/>
        <p:txBody>
          <a:bodyPr/>
          <a:lstStyle/>
          <a:p>
            <a:r>
              <a:rPr lang="de-DE" altLang="zh-CN" dirty="0"/>
              <a:t>BSHL: Bridgepath for Systemverilog and High-level Languages</a:t>
            </a:r>
            <a:endParaRPr lang="de-DE" dirty="0"/>
          </a:p>
        </p:txBody>
      </p:sp>
      <p:cxnSp>
        <p:nvCxnSpPr>
          <p:cNvPr id="19" name="Straight Arrow Connector 18">
            <a:extLst>
              <a:ext uri="{FF2B5EF4-FFF2-40B4-BE49-F238E27FC236}">
                <a16:creationId xmlns:a16="http://schemas.microsoft.com/office/drawing/2014/main" id="{DF6F6F74-9F93-244B-30D4-585734D83474}"/>
              </a:ext>
            </a:extLst>
          </p:cNvPr>
          <p:cNvCxnSpPr>
            <a:cxnSpLocks/>
          </p:cNvCxnSpPr>
          <p:nvPr/>
        </p:nvCxnSpPr>
        <p:spPr>
          <a:xfrm flipH="1">
            <a:off x="8099179" y="2419693"/>
            <a:ext cx="641844" cy="7158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1A718A2-DB88-34EB-8DD3-2E5DF7A424AC}"/>
              </a:ext>
            </a:extLst>
          </p:cNvPr>
          <p:cNvCxnSpPr>
            <a:cxnSpLocks/>
          </p:cNvCxnSpPr>
          <p:nvPr/>
        </p:nvCxnSpPr>
        <p:spPr>
          <a:xfrm flipV="1">
            <a:off x="4114800" y="3955807"/>
            <a:ext cx="0" cy="75010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3924F5E-15E7-96A1-A18B-8EFC8E1E5B39}"/>
              </a:ext>
            </a:extLst>
          </p:cNvPr>
          <p:cNvCxnSpPr>
            <a:cxnSpLocks/>
          </p:cNvCxnSpPr>
          <p:nvPr/>
        </p:nvCxnSpPr>
        <p:spPr>
          <a:xfrm flipV="1">
            <a:off x="1728438" y="3428075"/>
            <a:ext cx="1167162" cy="49537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96F90C6-6CBE-7006-038D-ED22428E028F}"/>
              </a:ext>
            </a:extLst>
          </p:cNvPr>
          <p:cNvCxnSpPr>
            <a:cxnSpLocks/>
          </p:cNvCxnSpPr>
          <p:nvPr/>
        </p:nvCxnSpPr>
        <p:spPr>
          <a:xfrm flipH="1" flipV="1">
            <a:off x="8099179" y="3773329"/>
            <a:ext cx="859436" cy="360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C3AEEEE1-D7FE-26A2-88BE-9823F4E71B36}"/>
              </a:ext>
            </a:extLst>
          </p:cNvPr>
          <p:cNvPicPr>
            <a:picLocks noChangeAspect="1"/>
          </p:cNvPicPr>
          <p:nvPr/>
        </p:nvPicPr>
        <p:blipFill>
          <a:blip r:embed="rId4"/>
          <a:stretch>
            <a:fillRect/>
          </a:stretch>
        </p:blipFill>
        <p:spPr>
          <a:xfrm>
            <a:off x="8007598" y="5131076"/>
            <a:ext cx="1466850" cy="590550"/>
          </a:xfrm>
          <a:prstGeom prst="rect">
            <a:avLst/>
          </a:prstGeom>
        </p:spPr>
      </p:pic>
      <p:pic>
        <p:nvPicPr>
          <p:cNvPr id="43" name="Picture 42">
            <a:extLst>
              <a:ext uri="{FF2B5EF4-FFF2-40B4-BE49-F238E27FC236}">
                <a16:creationId xmlns:a16="http://schemas.microsoft.com/office/drawing/2014/main" id="{2F87CF78-8B1E-1CFD-D15A-CCFA93B0B913}"/>
              </a:ext>
            </a:extLst>
          </p:cNvPr>
          <p:cNvPicPr>
            <a:picLocks noChangeAspect="1"/>
          </p:cNvPicPr>
          <p:nvPr/>
        </p:nvPicPr>
        <p:blipFill>
          <a:blip r:embed="rId5"/>
          <a:stretch>
            <a:fillRect/>
          </a:stretch>
        </p:blipFill>
        <p:spPr>
          <a:xfrm>
            <a:off x="8007598" y="5654951"/>
            <a:ext cx="1466850" cy="590550"/>
          </a:xfrm>
          <a:prstGeom prst="rect">
            <a:avLst/>
          </a:prstGeom>
        </p:spPr>
      </p:pic>
      <p:sp>
        <p:nvSpPr>
          <p:cNvPr id="44" name="TextBox 43">
            <a:extLst>
              <a:ext uri="{FF2B5EF4-FFF2-40B4-BE49-F238E27FC236}">
                <a16:creationId xmlns:a16="http://schemas.microsoft.com/office/drawing/2014/main" id="{787664E3-6AED-1CB0-052A-4E6AF3E6690F}"/>
              </a:ext>
            </a:extLst>
          </p:cNvPr>
          <p:cNvSpPr txBox="1"/>
          <p:nvPr/>
        </p:nvSpPr>
        <p:spPr bwMode="auto">
          <a:xfrm>
            <a:off x="9388108" y="4705911"/>
            <a:ext cx="2372426" cy="1143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kern="0" dirty="0">
                <a:latin typeface="+mn-lt"/>
              </a:rPr>
              <a:t>user-customizable</a:t>
            </a:r>
            <a:endParaRPr lang="de-DE" sz="1400" kern="0" baseline="0" dirty="0">
              <a:latin typeface="+mn-lt"/>
              <a:ea typeface="+mn-ea"/>
              <a:cs typeface="+mn-cs"/>
            </a:endParaRPr>
          </a:p>
        </p:txBody>
      </p:sp>
      <p:sp>
        <p:nvSpPr>
          <p:cNvPr id="45" name="TextBox 44">
            <a:extLst>
              <a:ext uri="{FF2B5EF4-FFF2-40B4-BE49-F238E27FC236}">
                <a16:creationId xmlns:a16="http://schemas.microsoft.com/office/drawing/2014/main" id="{32B26CE8-77EC-127F-7A29-EC55CBAD7259}"/>
              </a:ext>
            </a:extLst>
          </p:cNvPr>
          <p:cNvSpPr txBox="1"/>
          <p:nvPr/>
        </p:nvSpPr>
        <p:spPr bwMode="auto">
          <a:xfrm>
            <a:off x="9394899" y="5235078"/>
            <a:ext cx="2372426" cy="1143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kern="0" dirty="0">
                <a:latin typeface="+mn-lt"/>
              </a:rPr>
              <a:t>user-independent</a:t>
            </a:r>
            <a:endParaRPr lang="de-DE" sz="1400" kern="0" baseline="0" dirty="0">
              <a:latin typeface="+mn-lt"/>
              <a:ea typeface="+mn-ea"/>
              <a:cs typeface="+mn-cs"/>
            </a:endParaRPr>
          </a:p>
        </p:txBody>
      </p:sp>
      <p:cxnSp>
        <p:nvCxnSpPr>
          <p:cNvPr id="24" name="Straight Arrow Connector 23">
            <a:extLst>
              <a:ext uri="{FF2B5EF4-FFF2-40B4-BE49-F238E27FC236}">
                <a16:creationId xmlns:a16="http://schemas.microsoft.com/office/drawing/2014/main" id="{27A8DF0B-C467-0F25-D720-5BD42125D9CA}"/>
              </a:ext>
            </a:extLst>
          </p:cNvPr>
          <p:cNvCxnSpPr>
            <a:cxnSpLocks/>
          </p:cNvCxnSpPr>
          <p:nvPr/>
        </p:nvCxnSpPr>
        <p:spPr>
          <a:xfrm>
            <a:off x="1905000" y="2543578"/>
            <a:ext cx="1371600" cy="39097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1A81A9F-1E33-6EF7-330E-2CB2FF931571}"/>
              </a:ext>
            </a:extLst>
          </p:cNvPr>
          <p:cNvSpPr txBox="1"/>
          <p:nvPr/>
        </p:nvSpPr>
        <p:spPr bwMode="auto">
          <a:xfrm>
            <a:off x="8940782" y="1939898"/>
            <a:ext cx="2826543"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I</a:t>
            </a:r>
            <a:r>
              <a:rPr lang="de-DE" sz="1600" kern="0" baseline="0" dirty="0">
                <a:latin typeface="+mn-lt"/>
                <a:ea typeface="+mn-ea"/>
                <a:cs typeface="+mn-cs"/>
              </a:rPr>
              <a:t>nterface class </a:t>
            </a:r>
            <a:r>
              <a:rPr lang="de-DE" sz="1600" kern="0" dirty="0">
                <a:latin typeface="+mn-lt"/>
              </a:rPr>
              <a:t>including interface functions or tasks user has to implement</a:t>
            </a:r>
            <a:endParaRPr lang="de-DE" sz="1600" kern="0" baseline="0" dirty="0">
              <a:latin typeface="+mn-lt"/>
              <a:ea typeface="+mn-ea"/>
              <a:cs typeface="+mn-cs"/>
            </a:endParaRPr>
          </a:p>
        </p:txBody>
      </p:sp>
      <p:sp>
        <p:nvSpPr>
          <p:cNvPr id="16" name="TextBox 15">
            <a:extLst>
              <a:ext uri="{FF2B5EF4-FFF2-40B4-BE49-F238E27FC236}">
                <a16:creationId xmlns:a16="http://schemas.microsoft.com/office/drawing/2014/main" id="{30F08194-FDC6-18D2-A4C5-8CDD8CD0D0E5}"/>
              </a:ext>
            </a:extLst>
          </p:cNvPr>
          <p:cNvSpPr txBox="1"/>
          <p:nvPr/>
        </p:nvSpPr>
        <p:spPr bwMode="auto">
          <a:xfrm>
            <a:off x="9205682" y="3773329"/>
            <a:ext cx="2826543"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Virtual</a:t>
            </a:r>
            <a:r>
              <a:rPr lang="de-DE" sz="1600" kern="0" baseline="0" dirty="0">
                <a:latin typeface="+mn-lt"/>
                <a:ea typeface="+mn-ea"/>
                <a:cs typeface="+mn-cs"/>
              </a:rPr>
              <a:t> class </a:t>
            </a:r>
            <a:r>
              <a:rPr lang="de-DE" sz="1600" kern="0" dirty="0">
                <a:latin typeface="+mn-lt"/>
              </a:rPr>
              <a:t>including library functions or tasks user can freely call</a:t>
            </a:r>
            <a:endParaRPr lang="de-DE" sz="1600" kern="0" baseline="0" dirty="0">
              <a:latin typeface="+mn-lt"/>
              <a:ea typeface="+mn-ea"/>
              <a:cs typeface="+mn-cs"/>
            </a:endParaRPr>
          </a:p>
        </p:txBody>
      </p:sp>
      <p:sp>
        <p:nvSpPr>
          <p:cNvPr id="17" name="TextBox 16">
            <a:extLst>
              <a:ext uri="{FF2B5EF4-FFF2-40B4-BE49-F238E27FC236}">
                <a16:creationId xmlns:a16="http://schemas.microsoft.com/office/drawing/2014/main" id="{B1A7A075-9D7A-2CC2-6ACE-0A2217F642EC}"/>
              </a:ext>
            </a:extLst>
          </p:cNvPr>
          <p:cNvSpPr txBox="1"/>
          <p:nvPr/>
        </p:nvSpPr>
        <p:spPr bwMode="auto">
          <a:xfrm>
            <a:off x="3074133" y="4682485"/>
            <a:ext cx="2826543"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An implementation of library functions or tasks</a:t>
            </a:r>
            <a:endParaRPr lang="de-DE" sz="1600" kern="0" baseline="0" dirty="0">
              <a:latin typeface="+mn-lt"/>
              <a:ea typeface="+mn-ea"/>
              <a:cs typeface="+mn-cs"/>
            </a:endParaRPr>
          </a:p>
        </p:txBody>
      </p:sp>
      <p:sp>
        <p:nvSpPr>
          <p:cNvPr id="20" name="TextBox 19">
            <a:extLst>
              <a:ext uri="{FF2B5EF4-FFF2-40B4-BE49-F238E27FC236}">
                <a16:creationId xmlns:a16="http://schemas.microsoft.com/office/drawing/2014/main" id="{FD4E47F2-0F9C-ED7D-78C2-114903B7FB0F}"/>
              </a:ext>
            </a:extLst>
          </p:cNvPr>
          <p:cNvSpPr txBox="1"/>
          <p:nvPr/>
        </p:nvSpPr>
        <p:spPr bwMode="auto">
          <a:xfrm>
            <a:off x="434949" y="1725074"/>
            <a:ext cx="2487319"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The test case and an implementation of interface functions or tasks</a:t>
            </a:r>
            <a:endParaRPr lang="de-DE" sz="1600" kern="0" baseline="0" dirty="0">
              <a:latin typeface="+mn-lt"/>
              <a:ea typeface="+mn-ea"/>
              <a:cs typeface="+mn-cs"/>
            </a:endParaRPr>
          </a:p>
        </p:txBody>
      </p:sp>
      <p:sp>
        <p:nvSpPr>
          <p:cNvPr id="29" name="TextBox 28">
            <a:extLst>
              <a:ext uri="{FF2B5EF4-FFF2-40B4-BE49-F238E27FC236}">
                <a16:creationId xmlns:a16="http://schemas.microsoft.com/office/drawing/2014/main" id="{D2D335E7-580F-D177-B89C-04366BC6A9CB}"/>
              </a:ext>
            </a:extLst>
          </p:cNvPr>
          <p:cNvSpPr txBox="1"/>
          <p:nvPr/>
        </p:nvSpPr>
        <p:spPr bwMode="auto">
          <a:xfrm>
            <a:off x="259109" y="3917554"/>
            <a:ext cx="2626137"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600" kern="0" dirty="0">
                <a:latin typeface="+mn-lt"/>
              </a:rPr>
              <a:t>Extensions for users to import pkgs and include files</a:t>
            </a:r>
            <a:endParaRPr lang="de-DE" sz="1600" kern="0" baseline="0" dirty="0">
              <a:latin typeface="+mn-lt"/>
              <a:ea typeface="+mn-ea"/>
              <a:cs typeface="+mn-cs"/>
            </a:endParaRPr>
          </a:p>
        </p:txBody>
      </p:sp>
      <p:sp>
        <p:nvSpPr>
          <p:cNvPr id="42" name="TextBox 41">
            <a:extLst>
              <a:ext uri="{FF2B5EF4-FFF2-40B4-BE49-F238E27FC236}">
                <a16:creationId xmlns:a16="http://schemas.microsoft.com/office/drawing/2014/main" id="{453D2863-040F-55F3-4FCB-DA434EC7B46A}"/>
              </a:ext>
            </a:extLst>
          </p:cNvPr>
          <p:cNvSpPr txBox="1"/>
          <p:nvPr/>
        </p:nvSpPr>
        <p:spPr bwMode="auto">
          <a:xfrm>
            <a:off x="3467100" y="1842665"/>
            <a:ext cx="1295400" cy="4572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sz="1800" kern="0" baseline="0" dirty="0">
                <a:solidFill>
                  <a:srgbClr val="7030A0"/>
                </a:solidFill>
                <a:latin typeface="+mn-lt"/>
                <a:ea typeface="+mn-ea"/>
                <a:cs typeface="+mn-cs"/>
              </a:rPr>
              <a:t>User space</a:t>
            </a:r>
            <a:endParaRPr lang="de-DE" sz="1800" kern="0" baseline="0" dirty="0">
              <a:solidFill>
                <a:srgbClr val="7030A0"/>
              </a:solidFill>
              <a:latin typeface="+mn-lt"/>
              <a:ea typeface="+mn-ea"/>
              <a:cs typeface="+mn-cs"/>
            </a:endParaRPr>
          </a:p>
        </p:txBody>
      </p:sp>
      <p:sp>
        <p:nvSpPr>
          <p:cNvPr id="46" name="TextBox 45">
            <a:extLst>
              <a:ext uri="{FF2B5EF4-FFF2-40B4-BE49-F238E27FC236}">
                <a16:creationId xmlns:a16="http://schemas.microsoft.com/office/drawing/2014/main" id="{FD542450-ADCF-A7D5-A552-5A363B75A06C}"/>
              </a:ext>
            </a:extLst>
          </p:cNvPr>
          <p:cNvSpPr txBox="1"/>
          <p:nvPr/>
        </p:nvSpPr>
        <p:spPr bwMode="auto">
          <a:xfrm>
            <a:off x="6611686" y="1858004"/>
            <a:ext cx="1928228" cy="4572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sz="1800" kern="0" dirty="0">
                <a:solidFill>
                  <a:srgbClr val="00B050"/>
                </a:solidFill>
                <a:latin typeface="+mn-lt"/>
              </a:rPr>
              <a:t>BSHL package directory</a:t>
            </a:r>
            <a:endParaRPr lang="de-DE" sz="1800" kern="0" baseline="0" dirty="0">
              <a:solidFill>
                <a:srgbClr val="00B050"/>
              </a:solidFill>
              <a:latin typeface="+mn-lt"/>
              <a:ea typeface="+mn-ea"/>
              <a:cs typeface="+mn-cs"/>
            </a:endParaRPr>
          </a:p>
        </p:txBody>
      </p:sp>
    </p:spTree>
    <p:extLst>
      <p:ext uri="{BB962C8B-B14F-4D97-AF65-F5344CB8AC3E}">
        <p14:creationId xmlns:p14="http://schemas.microsoft.com/office/powerpoint/2010/main" val="3284237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E49A638-2B56-43FC-B1E6-4A55B22DC8AB}"/>
              </a:ext>
            </a:extLst>
          </p:cNvPr>
          <p:cNvSpPr>
            <a:spLocks noGrp="1"/>
          </p:cNvSpPr>
          <p:nvPr>
            <p:ph type="ftr" sz="quarter" idx="11"/>
          </p:nvPr>
        </p:nvSpPr>
        <p:spPr>
          <a:xfrm>
            <a:off x="12325114" y="6802756"/>
            <a:ext cx="0" cy="0"/>
          </a:xfrm>
        </p:spPr>
        <p:txBody>
          <a:bodyPr/>
          <a:lstStyle/>
          <a:p>
            <a:endParaRPr lang="en-US" dirty="0"/>
          </a:p>
        </p:txBody>
      </p:sp>
      <p:sp>
        <p:nvSpPr>
          <p:cNvPr id="4" name="Slide Number Placeholder 3">
            <a:extLst>
              <a:ext uri="{FF2B5EF4-FFF2-40B4-BE49-F238E27FC236}">
                <a16:creationId xmlns:a16="http://schemas.microsoft.com/office/drawing/2014/main" id="{2747DAA6-6A57-4D98-86DF-52AE5342FF85}"/>
              </a:ext>
            </a:extLst>
          </p:cNvPr>
          <p:cNvSpPr>
            <a:spLocks noGrp="1"/>
          </p:cNvSpPr>
          <p:nvPr>
            <p:ph type="sldNum" sz="quarter" idx="12"/>
          </p:nvPr>
        </p:nvSpPr>
        <p:spPr>
          <a:xfrm>
            <a:off x="11205058" y="6496540"/>
            <a:ext cx="384048" cy="361460"/>
          </a:xfrm>
        </p:spPr>
        <p:txBody>
          <a:bodyPr/>
          <a:lstStyle/>
          <a:p>
            <a:fld id="{BA925C6C-614A-4D70-B313-7ADCEE25F184}" type="slidenum">
              <a:rPr lang="en-US" smtClean="0"/>
              <a:pPr/>
              <a:t>5</a:t>
            </a:fld>
            <a:endParaRPr lang="en-US" dirty="0"/>
          </a:p>
        </p:txBody>
      </p:sp>
      <p:sp>
        <p:nvSpPr>
          <p:cNvPr id="7" name="Title 6">
            <a:extLst>
              <a:ext uri="{FF2B5EF4-FFF2-40B4-BE49-F238E27FC236}">
                <a16:creationId xmlns:a16="http://schemas.microsoft.com/office/drawing/2014/main" id="{9A6C26BB-6DAD-C29B-F3A7-EC4FD5210388}"/>
              </a:ext>
            </a:extLst>
          </p:cNvPr>
          <p:cNvSpPr>
            <a:spLocks noGrp="1"/>
          </p:cNvSpPr>
          <p:nvPr>
            <p:ph type="title"/>
          </p:nvPr>
        </p:nvSpPr>
        <p:spPr/>
        <p:txBody>
          <a:bodyPr/>
          <a:lstStyle/>
          <a:p>
            <a:r>
              <a:rPr lang="de-DE" altLang="zh-CN" dirty="0"/>
              <a:t>BSHL: Bridgepath for Systemverilog and High-level Languages</a:t>
            </a:r>
            <a:endParaRPr lang="de-DE" dirty="0"/>
          </a:p>
        </p:txBody>
      </p:sp>
      <p:pic>
        <p:nvPicPr>
          <p:cNvPr id="12" name="Picture 11">
            <a:extLst>
              <a:ext uri="{FF2B5EF4-FFF2-40B4-BE49-F238E27FC236}">
                <a16:creationId xmlns:a16="http://schemas.microsoft.com/office/drawing/2014/main" id="{5C690706-533D-3F19-35A2-16C9304ED28B}"/>
              </a:ext>
            </a:extLst>
          </p:cNvPr>
          <p:cNvPicPr>
            <a:picLocks noChangeAspect="1"/>
          </p:cNvPicPr>
          <p:nvPr/>
        </p:nvPicPr>
        <p:blipFill>
          <a:blip r:embed="rId3"/>
          <a:stretch>
            <a:fillRect/>
          </a:stretch>
        </p:blipFill>
        <p:spPr>
          <a:xfrm>
            <a:off x="873710" y="1731514"/>
            <a:ext cx="10444580" cy="3962400"/>
          </a:xfrm>
          <a:prstGeom prst="rect">
            <a:avLst/>
          </a:prstGeom>
        </p:spPr>
      </p:pic>
      <p:sp>
        <p:nvSpPr>
          <p:cNvPr id="3" name="TextBox 2">
            <a:extLst>
              <a:ext uri="{FF2B5EF4-FFF2-40B4-BE49-F238E27FC236}">
                <a16:creationId xmlns:a16="http://schemas.microsoft.com/office/drawing/2014/main" id="{622746C6-C9B7-E008-8F9A-280D95125B42}"/>
              </a:ext>
            </a:extLst>
          </p:cNvPr>
          <p:cNvSpPr txBox="1"/>
          <p:nvPr/>
        </p:nvSpPr>
        <p:spPr bwMode="auto">
          <a:xfrm>
            <a:off x="675701" y="1011514"/>
            <a:ext cx="2626137" cy="7200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sz="2000" kern="0" dirty="0">
                <a:latin typeface="+mn-lt"/>
              </a:rPr>
              <a:t>F</a:t>
            </a:r>
            <a:r>
              <a:rPr lang="de-DE" sz="2000" kern="0" dirty="0">
                <a:latin typeface="+mn-lt"/>
              </a:rPr>
              <a:t>iles Structure:</a:t>
            </a:r>
            <a:endParaRPr lang="de-DE" sz="2000" kern="0" baseline="0" dirty="0">
              <a:latin typeface="+mn-lt"/>
              <a:ea typeface="+mn-ea"/>
              <a:cs typeface="+mn-cs"/>
            </a:endParaRPr>
          </a:p>
        </p:txBody>
      </p:sp>
    </p:spTree>
    <p:extLst>
      <p:ext uri="{BB962C8B-B14F-4D97-AF65-F5344CB8AC3E}">
        <p14:creationId xmlns:p14="http://schemas.microsoft.com/office/powerpoint/2010/main" val="939087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6</a:t>
            </a:fld>
            <a:endParaRPr lang="en-US" dirty="0"/>
          </a:p>
        </p:txBody>
      </p:sp>
      <p:sp>
        <p:nvSpPr>
          <p:cNvPr id="7" name="Title 6">
            <a:extLst>
              <a:ext uri="{FF2B5EF4-FFF2-40B4-BE49-F238E27FC236}">
                <a16:creationId xmlns:a16="http://schemas.microsoft.com/office/drawing/2014/main" id="{69AE8294-9583-B72F-8BD9-2FE3EE4342FE}"/>
              </a:ext>
            </a:extLst>
          </p:cNvPr>
          <p:cNvSpPr txBox="1">
            <a:spLocks/>
          </p:cNvSpPr>
          <p:nvPr/>
        </p:nvSpPr>
        <p:spPr>
          <a:xfrm>
            <a:off x="381000" y="152400"/>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altLang="zh-CN" kern="0" dirty="0"/>
              <a:t>BSHL: Bridgepath for Systemverilog and High-level Languages</a:t>
            </a:r>
            <a:endParaRPr lang="de-DE" kern="0" dirty="0"/>
          </a:p>
        </p:txBody>
      </p:sp>
      <p:sp>
        <p:nvSpPr>
          <p:cNvPr id="12" name="TextBox 11">
            <a:extLst>
              <a:ext uri="{FF2B5EF4-FFF2-40B4-BE49-F238E27FC236}">
                <a16:creationId xmlns:a16="http://schemas.microsoft.com/office/drawing/2014/main" id="{664530B6-DB62-38A0-CBE2-5A57B19B9509}"/>
              </a:ext>
            </a:extLst>
          </p:cNvPr>
          <p:cNvSpPr txBox="1"/>
          <p:nvPr/>
        </p:nvSpPr>
        <p:spPr bwMode="auto">
          <a:xfrm>
            <a:off x="5943600" y="2051891"/>
            <a:ext cx="4953000" cy="29718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de-DE" altLang="zh-CN" sz="1600" b="1" kern="0" baseline="0" dirty="0">
                <a:latin typeface="+mn-lt"/>
                <a:ea typeface="+mn-ea"/>
                <a:cs typeface="+mn-cs"/>
              </a:rPr>
              <a:t>BSHL_pkg </a:t>
            </a:r>
            <a:r>
              <a:rPr lang="de-DE" altLang="zh-CN" sz="1600" kern="0" baseline="0" dirty="0">
                <a:latin typeface="+mn-lt"/>
                <a:ea typeface="+mn-ea"/>
                <a:cs typeface="+mn-cs"/>
              </a:rPr>
              <a:t>is a package that includes several components, among which are </a:t>
            </a:r>
            <a:r>
              <a:rPr lang="de-DE" altLang="zh-CN" sz="1600" b="1" kern="0" baseline="0" dirty="0">
                <a:latin typeface="+mn-lt"/>
                <a:ea typeface="+mn-ea"/>
                <a:cs typeface="+mn-cs"/>
              </a:rPr>
              <a:t>BSHL_if </a:t>
            </a:r>
            <a:r>
              <a:rPr lang="de-DE" altLang="zh-CN" sz="1600" kern="0" baseline="0" dirty="0">
                <a:latin typeface="+mn-lt"/>
                <a:ea typeface="+mn-ea"/>
                <a:cs typeface="+mn-cs"/>
              </a:rPr>
              <a:t>and </a:t>
            </a:r>
            <a:r>
              <a:rPr lang="de-DE" altLang="zh-CN" sz="1600" b="1" kern="0" baseline="0" dirty="0">
                <a:latin typeface="+mn-lt"/>
                <a:ea typeface="+mn-ea"/>
                <a:cs typeface="+mn-cs"/>
              </a:rPr>
              <a:t>BSHL_lib</a:t>
            </a:r>
            <a:r>
              <a:rPr lang="de-DE" altLang="zh-CN" sz="1600" kern="0" baseline="0" dirty="0">
                <a:latin typeface="+mn-lt"/>
                <a:ea typeface="+mn-ea"/>
                <a:cs typeface="+mn-cs"/>
              </a:rPr>
              <a:t>, as well as the type definition for </a:t>
            </a:r>
            <a:r>
              <a:rPr lang="de-DE" altLang="zh-CN" sz="1600" b="1" kern="0" baseline="0" dirty="0">
                <a:latin typeface="+mn-lt"/>
                <a:ea typeface="+mn-ea"/>
                <a:cs typeface="+mn-cs"/>
              </a:rPr>
              <a:t>transaction_descriptor</a:t>
            </a:r>
            <a:r>
              <a:rPr lang="de-DE" altLang="zh-CN" sz="1600" b="1" kern="0" dirty="0">
                <a:latin typeface="+mn-lt"/>
              </a:rPr>
              <a:t>, </a:t>
            </a:r>
            <a:r>
              <a:rPr lang="de-DE" altLang="zh-CN" sz="1600" kern="0" dirty="0">
                <a:latin typeface="+mn-lt"/>
              </a:rPr>
              <a:t>which is used for communication between SV and the HLL</a:t>
            </a:r>
            <a:endParaRPr lang="de-DE" sz="1600" kern="0" baseline="0" dirty="0">
              <a:latin typeface="+mn-lt"/>
              <a:ea typeface="+mn-ea"/>
              <a:cs typeface="+mn-cs"/>
            </a:endParaRPr>
          </a:p>
        </p:txBody>
      </p:sp>
      <p:pic>
        <p:nvPicPr>
          <p:cNvPr id="8" name="Picture 7">
            <a:extLst>
              <a:ext uri="{FF2B5EF4-FFF2-40B4-BE49-F238E27FC236}">
                <a16:creationId xmlns:a16="http://schemas.microsoft.com/office/drawing/2014/main" id="{BEB4ECFB-BB85-7E71-AE62-3FB75655C12C}"/>
              </a:ext>
            </a:extLst>
          </p:cNvPr>
          <p:cNvPicPr>
            <a:picLocks noChangeAspect="1"/>
          </p:cNvPicPr>
          <p:nvPr/>
        </p:nvPicPr>
        <p:blipFill>
          <a:blip r:embed="rId3"/>
          <a:stretch>
            <a:fillRect/>
          </a:stretch>
        </p:blipFill>
        <p:spPr>
          <a:xfrm>
            <a:off x="1447800" y="1729648"/>
            <a:ext cx="3615737" cy="4585174"/>
          </a:xfrm>
          <a:prstGeom prst="rect">
            <a:avLst/>
          </a:prstGeom>
        </p:spPr>
      </p:pic>
      <p:pic>
        <p:nvPicPr>
          <p:cNvPr id="6" name="Picture 5">
            <a:extLst>
              <a:ext uri="{FF2B5EF4-FFF2-40B4-BE49-F238E27FC236}">
                <a16:creationId xmlns:a16="http://schemas.microsoft.com/office/drawing/2014/main" id="{481E5623-7BA8-34BE-5307-E29E722FD429}"/>
              </a:ext>
            </a:extLst>
          </p:cNvPr>
          <p:cNvPicPr>
            <a:picLocks noChangeAspect="1"/>
          </p:cNvPicPr>
          <p:nvPr/>
        </p:nvPicPr>
        <p:blipFill>
          <a:blip r:embed="rId4"/>
          <a:stretch>
            <a:fillRect/>
          </a:stretch>
        </p:blipFill>
        <p:spPr>
          <a:xfrm>
            <a:off x="166687" y="1066800"/>
            <a:ext cx="2562225" cy="1031545"/>
          </a:xfrm>
          <a:prstGeom prst="rect">
            <a:avLst/>
          </a:prstGeom>
        </p:spPr>
      </p:pic>
    </p:spTree>
    <p:extLst>
      <p:ext uri="{BB962C8B-B14F-4D97-AF65-F5344CB8AC3E}">
        <p14:creationId xmlns:p14="http://schemas.microsoft.com/office/powerpoint/2010/main" val="1790767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7</a:t>
            </a:fld>
            <a:endParaRPr lang="en-US" dirty="0"/>
          </a:p>
        </p:txBody>
      </p:sp>
      <p:sp>
        <p:nvSpPr>
          <p:cNvPr id="7" name="Title 6">
            <a:extLst>
              <a:ext uri="{FF2B5EF4-FFF2-40B4-BE49-F238E27FC236}">
                <a16:creationId xmlns:a16="http://schemas.microsoft.com/office/drawing/2014/main" id="{69AE8294-9583-B72F-8BD9-2FE3EE4342FE}"/>
              </a:ext>
            </a:extLst>
          </p:cNvPr>
          <p:cNvSpPr txBox="1">
            <a:spLocks/>
          </p:cNvSpPr>
          <p:nvPr/>
        </p:nvSpPr>
        <p:spPr>
          <a:xfrm>
            <a:off x="381000" y="152400"/>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altLang="zh-CN" kern="0" dirty="0"/>
              <a:t>BSHL: Bridgepath for Systemverilog and High-level Languages</a:t>
            </a:r>
            <a:endParaRPr lang="de-DE" kern="0" dirty="0"/>
          </a:p>
        </p:txBody>
      </p:sp>
      <p:pic>
        <p:nvPicPr>
          <p:cNvPr id="9" name="Picture 8">
            <a:extLst>
              <a:ext uri="{FF2B5EF4-FFF2-40B4-BE49-F238E27FC236}">
                <a16:creationId xmlns:a16="http://schemas.microsoft.com/office/drawing/2014/main" id="{F907A209-88AE-19B8-3134-C15C827253F5}"/>
              </a:ext>
            </a:extLst>
          </p:cNvPr>
          <p:cNvPicPr>
            <a:picLocks noChangeAspect="1"/>
          </p:cNvPicPr>
          <p:nvPr/>
        </p:nvPicPr>
        <p:blipFill>
          <a:blip r:embed="rId3"/>
          <a:stretch>
            <a:fillRect/>
          </a:stretch>
        </p:blipFill>
        <p:spPr>
          <a:xfrm>
            <a:off x="220132" y="1863000"/>
            <a:ext cx="7565305" cy="3547533"/>
          </a:xfrm>
          <a:prstGeom prst="rect">
            <a:avLst/>
          </a:prstGeom>
        </p:spPr>
      </p:pic>
      <p:pic>
        <p:nvPicPr>
          <p:cNvPr id="11" name="Picture 10">
            <a:extLst>
              <a:ext uri="{FF2B5EF4-FFF2-40B4-BE49-F238E27FC236}">
                <a16:creationId xmlns:a16="http://schemas.microsoft.com/office/drawing/2014/main" id="{4850084F-1BA4-AC0B-56DE-5A3FA8012A29}"/>
              </a:ext>
            </a:extLst>
          </p:cNvPr>
          <p:cNvPicPr>
            <a:picLocks noChangeAspect="1"/>
          </p:cNvPicPr>
          <p:nvPr/>
        </p:nvPicPr>
        <p:blipFill>
          <a:blip r:embed="rId4"/>
          <a:stretch>
            <a:fillRect/>
          </a:stretch>
        </p:blipFill>
        <p:spPr>
          <a:xfrm>
            <a:off x="152400" y="1219200"/>
            <a:ext cx="1981201" cy="797626"/>
          </a:xfrm>
          <a:prstGeom prst="rect">
            <a:avLst/>
          </a:prstGeom>
        </p:spPr>
      </p:pic>
      <p:sp>
        <p:nvSpPr>
          <p:cNvPr id="12" name="TextBox 11">
            <a:extLst>
              <a:ext uri="{FF2B5EF4-FFF2-40B4-BE49-F238E27FC236}">
                <a16:creationId xmlns:a16="http://schemas.microsoft.com/office/drawing/2014/main" id="{664530B6-DB62-38A0-CBE2-5A57B19B9509}"/>
              </a:ext>
            </a:extLst>
          </p:cNvPr>
          <p:cNvSpPr txBox="1"/>
          <p:nvPr/>
        </p:nvSpPr>
        <p:spPr bwMode="auto">
          <a:xfrm>
            <a:off x="8077200" y="2150866"/>
            <a:ext cx="3618489" cy="29718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GB" sz="1600" kern="0" baseline="0" dirty="0">
                <a:latin typeface="+mn-lt"/>
                <a:ea typeface="+mn-ea"/>
                <a:cs typeface="+mn-cs"/>
              </a:rPr>
              <a:t>B</a:t>
            </a:r>
            <a:r>
              <a:rPr lang="de-DE" sz="1600" kern="0" baseline="0" dirty="0">
                <a:latin typeface="+mn-lt"/>
                <a:ea typeface="+mn-ea"/>
                <a:cs typeface="+mn-cs"/>
              </a:rPr>
              <a:t>SHL_if is an interface class that declares a series of user-customizable functions or tasks.</a:t>
            </a:r>
            <a:br>
              <a:rPr lang="de-DE" sz="1600" kern="0" baseline="0" dirty="0">
                <a:latin typeface="+mn-lt"/>
                <a:ea typeface="+mn-ea"/>
                <a:cs typeface="+mn-cs"/>
              </a:rPr>
            </a:br>
            <a:r>
              <a:rPr lang="de-DE" sz="1600" kern="0" baseline="0" dirty="0">
                <a:latin typeface="+mn-lt"/>
                <a:ea typeface="+mn-ea"/>
                <a:cs typeface="+mn-cs"/>
              </a:rPr>
              <a:t>All of these functions and tasks require user to implement them according to their specific project requirements.</a:t>
            </a:r>
            <a:br>
              <a:rPr lang="de-DE" sz="1600" kern="0" baseline="0" dirty="0">
                <a:latin typeface="+mn-lt"/>
                <a:ea typeface="+mn-ea"/>
                <a:cs typeface="+mn-cs"/>
              </a:rPr>
            </a:br>
            <a:r>
              <a:rPr lang="de-DE" sz="1600" kern="0" baseline="0" dirty="0">
                <a:latin typeface="+mn-lt"/>
                <a:ea typeface="+mn-ea"/>
                <a:cs typeface="+mn-cs"/>
              </a:rPr>
              <a:t>Therefore, BSHL_if serves as more of a specification, a contract, that outlines how users should utilize these functions or tasks.</a:t>
            </a:r>
          </a:p>
        </p:txBody>
      </p:sp>
    </p:spTree>
    <p:extLst>
      <p:ext uri="{BB962C8B-B14F-4D97-AF65-F5344CB8AC3E}">
        <p14:creationId xmlns:p14="http://schemas.microsoft.com/office/powerpoint/2010/main" val="938289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8</a:t>
            </a:fld>
            <a:endParaRPr lang="en-US" dirty="0"/>
          </a:p>
        </p:txBody>
      </p:sp>
      <p:sp>
        <p:nvSpPr>
          <p:cNvPr id="7" name="Title 6">
            <a:extLst>
              <a:ext uri="{FF2B5EF4-FFF2-40B4-BE49-F238E27FC236}">
                <a16:creationId xmlns:a16="http://schemas.microsoft.com/office/drawing/2014/main" id="{69AE8294-9583-B72F-8BD9-2FE3EE4342FE}"/>
              </a:ext>
            </a:extLst>
          </p:cNvPr>
          <p:cNvSpPr txBox="1">
            <a:spLocks/>
          </p:cNvSpPr>
          <p:nvPr/>
        </p:nvSpPr>
        <p:spPr>
          <a:xfrm>
            <a:off x="381000" y="152400"/>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altLang="zh-CN" kern="0" dirty="0"/>
              <a:t>BSHL: Bridgepath for Systemverilog and High-level Languages</a:t>
            </a:r>
            <a:endParaRPr lang="de-DE" kern="0" dirty="0"/>
          </a:p>
        </p:txBody>
      </p:sp>
      <p:sp>
        <p:nvSpPr>
          <p:cNvPr id="12" name="TextBox 11">
            <a:extLst>
              <a:ext uri="{FF2B5EF4-FFF2-40B4-BE49-F238E27FC236}">
                <a16:creationId xmlns:a16="http://schemas.microsoft.com/office/drawing/2014/main" id="{664530B6-DB62-38A0-CBE2-5A57B19B9509}"/>
              </a:ext>
            </a:extLst>
          </p:cNvPr>
          <p:cNvSpPr txBox="1"/>
          <p:nvPr/>
        </p:nvSpPr>
        <p:spPr bwMode="auto">
          <a:xfrm>
            <a:off x="6248400" y="1847520"/>
            <a:ext cx="5107179" cy="29718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GB" sz="1600" kern="0" baseline="0" dirty="0" err="1">
                <a:latin typeface="+mn-lt"/>
                <a:ea typeface="+mn-ea"/>
                <a:cs typeface="+mn-cs"/>
              </a:rPr>
              <a:t>BSHL_lib</a:t>
            </a:r>
            <a:r>
              <a:rPr lang="en-GB" sz="1600" kern="0" baseline="0" dirty="0">
                <a:latin typeface="+mn-lt"/>
                <a:ea typeface="+mn-ea"/>
                <a:cs typeface="+mn-cs"/>
              </a:rPr>
              <a:t> serves as a library that houses all the functions or tasks that users do not need to modify or rewrite. Users are not required to understand the internal implementation of these functions. Users can directly call functions from within this library.</a:t>
            </a:r>
            <a:br>
              <a:rPr lang="en-GB" sz="1600" kern="0" baseline="0" dirty="0">
                <a:latin typeface="+mn-lt"/>
                <a:ea typeface="+mn-ea"/>
                <a:cs typeface="+mn-cs"/>
              </a:rPr>
            </a:br>
            <a:br>
              <a:rPr lang="en-GB" sz="1600" kern="0" baseline="0" dirty="0">
                <a:latin typeface="+mn-lt"/>
                <a:ea typeface="+mn-ea"/>
                <a:cs typeface="+mn-cs"/>
              </a:rPr>
            </a:br>
            <a:r>
              <a:rPr lang="en-GB" sz="1600" kern="0" baseline="0" dirty="0">
                <a:latin typeface="+mn-lt"/>
                <a:ea typeface="+mn-ea"/>
                <a:cs typeface="+mn-cs"/>
              </a:rPr>
              <a:t>Internally, </a:t>
            </a:r>
            <a:r>
              <a:rPr lang="en-GB" sz="1600" kern="0" baseline="0" dirty="0" err="1">
                <a:latin typeface="+mn-lt"/>
                <a:ea typeface="+mn-ea"/>
                <a:cs typeface="+mn-cs"/>
              </a:rPr>
              <a:t>BSHL_lib</a:t>
            </a:r>
            <a:r>
              <a:rPr lang="en-GB" sz="1600" kern="0" baseline="0" dirty="0">
                <a:latin typeface="+mn-lt"/>
                <a:ea typeface="+mn-ea"/>
                <a:cs typeface="+mn-cs"/>
              </a:rPr>
              <a:t> is essentially a virtual class, with </a:t>
            </a:r>
            <a:r>
              <a:rPr lang="en-GB" sz="1600" kern="0" baseline="0" dirty="0" err="1">
                <a:latin typeface="+mn-lt"/>
                <a:ea typeface="+mn-ea"/>
                <a:cs typeface="+mn-cs"/>
              </a:rPr>
              <a:t>BSHL_lib_imp</a:t>
            </a:r>
            <a:r>
              <a:rPr lang="en-GB" sz="1600" kern="0" baseline="0" dirty="0">
                <a:latin typeface="+mn-lt"/>
                <a:ea typeface="+mn-ea"/>
                <a:cs typeface="+mn-cs"/>
              </a:rPr>
              <a:t> being its derived class responsible for implementing all the library functions. This design facilitates future expansion or updates to the library functions without the need to expose these changes to users, making it user-independent.</a:t>
            </a:r>
            <a:endParaRPr lang="de-DE" sz="1600" kern="0" baseline="0" dirty="0">
              <a:latin typeface="+mn-lt"/>
              <a:ea typeface="+mn-ea"/>
              <a:cs typeface="+mn-cs"/>
            </a:endParaRPr>
          </a:p>
        </p:txBody>
      </p:sp>
      <p:pic>
        <p:nvPicPr>
          <p:cNvPr id="5" name="Picture 4">
            <a:extLst>
              <a:ext uri="{FF2B5EF4-FFF2-40B4-BE49-F238E27FC236}">
                <a16:creationId xmlns:a16="http://schemas.microsoft.com/office/drawing/2014/main" id="{7300B653-ACCA-4BF5-0880-13E9C3EC02EF}"/>
              </a:ext>
            </a:extLst>
          </p:cNvPr>
          <p:cNvPicPr>
            <a:picLocks noChangeAspect="1"/>
          </p:cNvPicPr>
          <p:nvPr/>
        </p:nvPicPr>
        <p:blipFill>
          <a:blip r:embed="rId3"/>
          <a:stretch>
            <a:fillRect/>
          </a:stretch>
        </p:blipFill>
        <p:spPr>
          <a:xfrm>
            <a:off x="307975" y="1594939"/>
            <a:ext cx="5330825" cy="1647710"/>
          </a:xfrm>
          <a:prstGeom prst="rect">
            <a:avLst/>
          </a:prstGeom>
        </p:spPr>
      </p:pic>
      <p:pic>
        <p:nvPicPr>
          <p:cNvPr id="8" name="Picture 7">
            <a:extLst>
              <a:ext uri="{FF2B5EF4-FFF2-40B4-BE49-F238E27FC236}">
                <a16:creationId xmlns:a16="http://schemas.microsoft.com/office/drawing/2014/main" id="{83AD844F-6DEA-8E3C-4604-607450FE9825}"/>
              </a:ext>
            </a:extLst>
          </p:cNvPr>
          <p:cNvPicPr>
            <a:picLocks noChangeAspect="1"/>
          </p:cNvPicPr>
          <p:nvPr/>
        </p:nvPicPr>
        <p:blipFill>
          <a:blip r:embed="rId4"/>
          <a:stretch>
            <a:fillRect/>
          </a:stretch>
        </p:blipFill>
        <p:spPr>
          <a:xfrm>
            <a:off x="228600" y="1111250"/>
            <a:ext cx="1828800" cy="736270"/>
          </a:xfrm>
          <a:prstGeom prst="rect">
            <a:avLst/>
          </a:prstGeom>
        </p:spPr>
      </p:pic>
      <p:pic>
        <p:nvPicPr>
          <p:cNvPr id="15" name="Picture 14">
            <a:extLst>
              <a:ext uri="{FF2B5EF4-FFF2-40B4-BE49-F238E27FC236}">
                <a16:creationId xmlns:a16="http://schemas.microsoft.com/office/drawing/2014/main" id="{80BBBD66-EB28-FA0D-159B-85E54F137309}"/>
              </a:ext>
            </a:extLst>
          </p:cNvPr>
          <p:cNvPicPr>
            <a:picLocks noChangeAspect="1"/>
          </p:cNvPicPr>
          <p:nvPr/>
        </p:nvPicPr>
        <p:blipFill>
          <a:blip r:embed="rId5"/>
          <a:stretch>
            <a:fillRect/>
          </a:stretch>
        </p:blipFill>
        <p:spPr>
          <a:xfrm>
            <a:off x="347133" y="3879760"/>
            <a:ext cx="4892004" cy="1747144"/>
          </a:xfrm>
          <a:prstGeom prst="rect">
            <a:avLst/>
          </a:prstGeom>
        </p:spPr>
      </p:pic>
      <p:pic>
        <p:nvPicPr>
          <p:cNvPr id="9" name="Picture 8">
            <a:extLst>
              <a:ext uri="{FF2B5EF4-FFF2-40B4-BE49-F238E27FC236}">
                <a16:creationId xmlns:a16="http://schemas.microsoft.com/office/drawing/2014/main" id="{788A5C2F-1B4A-4DAE-D25D-3FE5B9B4C53C}"/>
              </a:ext>
            </a:extLst>
          </p:cNvPr>
          <p:cNvPicPr>
            <a:picLocks noChangeAspect="1"/>
          </p:cNvPicPr>
          <p:nvPr/>
        </p:nvPicPr>
        <p:blipFill>
          <a:blip r:embed="rId6"/>
          <a:stretch>
            <a:fillRect/>
          </a:stretch>
        </p:blipFill>
        <p:spPr>
          <a:xfrm>
            <a:off x="228600" y="3387025"/>
            <a:ext cx="2899770" cy="653031"/>
          </a:xfrm>
          <a:prstGeom prst="rect">
            <a:avLst/>
          </a:prstGeom>
        </p:spPr>
      </p:pic>
    </p:spTree>
    <p:extLst>
      <p:ext uri="{BB962C8B-B14F-4D97-AF65-F5344CB8AC3E}">
        <p14:creationId xmlns:p14="http://schemas.microsoft.com/office/powerpoint/2010/main" val="162558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8D03DE-2F4E-4F32-B914-D55181518A9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927B619-4B6B-4077-A336-1F712E16894D}"/>
              </a:ext>
            </a:extLst>
          </p:cNvPr>
          <p:cNvSpPr>
            <a:spLocks noGrp="1"/>
          </p:cNvSpPr>
          <p:nvPr>
            <p:ph type="sldNum" sz="quarter" idx="12"/>
          </p:nvPr>
        </p:nvSpPr>
        <p:spPr/>
        <p:txBody>
          <a:bodyPr/>
          <a:lstStyle/>
          <a:p>
            <a:fld id="{BA925C6C-614A-4D70-B313-7ADCEE25F184}" type="slidenum">
              <a:rPr lang="en-US" smtClean="0"/>
              <a:pPr/>
              <a:t>9</a:t>
            </a:fld>
            <a:endParaRPr lang="en-US" dirty="0"/>
          </a:p>
        </p:txBody>
      </p:sp>
      <p:sp>
        <p:nvSpPr>
          <p:cNvPr id="7" name="Title 6">
            <a:extLst>
              <a:ext uri="{FF2B5EF4-FFF2-40B4-BE49-F238E27FC236}">
                <a16:creationId xmlns:a16="http://schemas.microsoft.com/office/drawing/2014/main" id="{69AE8294-9583-B72F-8BD9-2FE3EE4342FE}"/>
              </a:ext>
            </a:extLst>
          </p:cNvPr>
          <p:cNvSpPr txBox="1">
            <a:spLocks/>
          </p:cNvSpPr>
          <p:nvPr/>
        </p:nvSpPr>
        <p:spPr>
          <a:xfrm>
            <a:off x="381000" y="152400"/>
            <a:ext cx="9613068" cy="720000"/>
          </a:xfrm>
          <a:prstGeom prst="rect">
            <a:avLst/>
          </a:prstGeom>
        </p:spPr>
        <p:txBody>
          <a:bodyPr vert="horz" lIns="0" tIns="0" rIns="0" bIns="10800" rtlCol="0" anchor="b" anchorCtr="0">
            <a:noAutofit/>
          </a:bodyPr>
          <a:lstStyle>
            <a:lvl1pPr algn="l" defTabSz="576000" rtl="0" eaLnBrk="1" fontAlgn="base" hangingPunct="1">
              <a:spcBef>
                <a:spcPct val="0"/>
              </a:spcBef>
              <a:spcAft>
                <a:spcPct val="0"/>
              </a:spcAft>
              <a:buClr>
                <a:schemeClr val="tx1"/>
              </a:buClr>
              <a:buFontTx/>
              <a:buNone/>
              <a:defRPr sz="2400" b="0" baseline="0">
                <a:solidFill>
                  <a:schemeClr val="tx1"/>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a:lstStyle>
          <a:p>
            <a:r>
              <a:rPr lang="de-DE" altLang="zh-CN" kern="0" dirty="0"/>
              <a:t>BSHL: Bridgepath for Systemverilog and High-level Languages</a:t>
            </a:r>
            <a:endParaRPr lang="de-DE" kern="0" dirty="0"/>
          </a:p>
        </p:txBody>
      </p:sp>
      <p:sp>
        <p:nvSpPr>
          <p:cNvPr id="12" name="TextBox 11">
            <a:extLst>
              <a:ext uri="{FF2B5EF4-FFF2-40B4-BE49-F238E27FC236}">
                <a16:creationId xmlns:a16="http://schemas.microsoft.com/office/drawing/2014/main" id="{664530B6-DB62-38A0-CBE2-5A57B19B9509}"/>
              </a:ext>
            </a:extLst>
          </p:cNvPr>
          <p:cNvSpPr txBox="1"/>
          <p:nvPr/>
        </p:nvSpPr>
        <p:spPr bwMode="auto">
          <a:xfrm>
            <a:off x="5562600" y="1005124"/>
            <a:ext cx="6553200" cy="2971800"/>
          </a:xfrm>
          <a:prstGeom prst="rect">
            <a:avLst/>
          </a:prstGeom>
          <a:noFill/>
          <a:ln w="9525">
            <a:noFill/>
            <a:miter lim="800000"/>
            <a:headEnd/>
            <a:tailEnd/>
          </a:ln>
          <a:effectLst/>
        </p:spPr>
        <p:txBody>
          <a:bodyPr wrap="square" lIns="0" tIns="0" rIns="0" bIns="0" rtlCol="0" anchor="ctr" anchorCtr="0">
            <a:noAutofit/>
          </a:bodyPr>
          <a:lstStyle/>
          <a:p>
            <a:pPr marR="0" algn="l" defTabSz="576000" eaLnBrk="0" fontAlgn="auto" latinLnBrk="0" hangingPunct="0">
              <a:spcBef>
                <a:spcPts val="0"/>
              </a:spcBef>
              <a:spcAft>
                <a:spcPts val="0"/>
              </a:spcAft>
              <a:buClr>
                <a:schemeClr val="accent1"/>
              </a:buClr>
              <a:buSzTx/>
              <a:tabLst/>
            </a:pPr>
            <a:r>
              <a:rPr lang="en-GB" sz="1600" kern="0" baseline="0" dirty="0" err="1">
                <a:latin typeface="+mn-lt"/>
                <a:ea typeface="+mn-ea"/>
                <a:cs typeface="+mn-cs"/>
              </a:rPr>
              <a:t>BSHL_test_pkg</a:t>
            </a:r>
            <a:r>
              <a:rPr lang="en-GB" sz="1600" kern="0" baseline="0" dirty="0">
                <a:latin typeface="+mn-lt"/>
                <a:ea typeface="+mn-ea"/>
                <a:cs typeface="+mn-cs"/>
              </a:rPr>
              <a:t> is a package that includes </a:t>
            </a:r>
            <a:r>
              <a:rPr lang="en-GB" sz="1600" kern="0" baseline="0" dirty="0" err="1">
                <a:latin typeface="+mn-lt"/>
                <a:ea typeface="+mn-ea"/>
                <a:cs typeface="+mn-cs"/>
              </a:rPr>
              <a:t>BSHL_user_extensions.svh</a:t>
            </a:r>
            <a:r>
              <a:rPr lang="en-GB" sz="1600" kern="0" baseline="0" dirty="0">
                <a:latin typeface="+mn-lt"/>
                <a:ea typeface="+mn-ea"/>
                <a:cs typeface="+mn-cs"/>
              </a:rPr>
              <a:t>. Additionally, this package defines and declares DPI-C functions and tasks. </a:t>
            </a:r>
            <a:r>
              <a:rPr lang="en-GB" sz="1600" kern="0" dirty="0">
                <a:latin typeface="+mn-lt"/>
              </a:rPr>
              <a:t>To ensure that the exported DPI-C functions can locate their implementations, there are also </a:t>
            </a:r>
            <a:r>
              <a:rPr lang="en-GB" sz="1600" kern="0" dirty="0" err="1">
                <a:latin typeface="+mn-lt"/>
              </a:rPr>
              <a:t>get_api</a:t>
            </a:r>
            <a:r>
              <a:rPr lang="en-GB" sz="1600" kern="0" dirty="0">
                <a:latin typeface="+mn-lt"/>
              </a:rPr>
              <a:t> functions and export-dpi functions void (calling the handle of </a:t>
            </a:r>
            <a:r>
              <a:rPr lang="en-GB" sz="1600" kern="0" dirty="0" err="1">
                <a:latin typeface="+mn-lt"/>
              </a:rPr>
              <a:t>BSHL_api</a:t>
            </a:r>
            <a:r>
              <a:rPr lang="en-GB" sz="1600" kern="0" dirty="0">
                <a:latin typeface="+mn-lt"/>
              </a:rPr>
              <a:t>).</a:t>
            </a:r>
            <a:r>
              <a:rPr lang="en-GB" sz="1600" kern="0" baseline="0" dirty="0">
                <a:latin typeface="+mn-lt"/>
                <a:ea typeface="+mn-ea"/>
                <a:cs typeface="+mn-cs"/>
              </a:rPr>
              <a:t> </a:t>
            </a:r>
          </a:p>
          <a:p>
            <a:pPr marR="0" algn="l" defTabSz="576000" eaLnBrk="0" fontAlgn="auto" latinLnBrk="0" hangingPunct="0">
              <a:spcBef>
                <a:spcPts val="0"/>
              </a:spcBef>
              <a:spcAft>
                <a:spcPts val="0"/>
              </a:spcAft>
              <a:buClr>
                <a:schemeClr val="accent1"/>
              </a:buClr>
              <a:buSzTx/>
              <a:tabLst/>
            </a:pPr>
            <a:r>
              <a:rPr lang="en-GB" sz="1600" kern="0" dirty="0">
                <a:latin typeface="+mn-lt"/>
              </a:rPr>
              <a:t>When users are trying to understand this code, it is recommended to consider it conjunction with the code in </a:t>
            </a:r>
            <a:r>
              <a:rPr lang="en-GB" sz="1600" kern="0" dirty="0" err="1">
                <a:latin typeface="+mn-lt"/>
              </a:rPr>
              <a:t>BSHL_user_extensions.svh</a:t>
            </a:r>
            <a:r>
              <a:rPr lang="en-GB" sz="1600" kern="0" dirty="0">
                <a:latin typeface="+mn-lt"/>
              </a:rPr>
              <a:t>. While it might seem a bit odd at first glance, the idea is to extract all the codes that users need to manually adjust and place them in </a:t>
            </a:r>
            <a:r>
              <a:rPr lang="en-GB" sz="1600" kern="0" dirty="0" err="1">
                <a:latin typeface="+mn-lt"/>
              </a:rPr>
              <a:t>BSHL_user_extensions.svh</a:t>
            </a:r>
            <a:r>
              <a:rPr lang="en-GB" sz="1600" kern="0" dirty="0">
                <a:latin typeface="+mn-lt"/>
              </a:rPr>
              <a:t>. This approach means that users will not need to make any modifications to BSHL_test_pkg.sv itself.</a:t>
            </a:r>
            <a:endParaRPr lang="de-DE" sz="1600" kern="0" baseline="0" dirty="0">
              <a:latin typeface="+mn-lt"/>
              <a:ea typeface="+mn-ea"/>
              <a:cs typeface="+mn-cs"/>
            </a:endParaRPr>
          </a:p>
        </p:txBody>
      </p:sp>
      <p:pic>
        <p:nvPicPr>
          <p:cNvPr id="5" name="Picture 4">
            <a:extLst>
              <a:ext uri="{FF2B5EF4-FFF2-40B4-BE49-F238E27FC236}">
                <a16:creationId xmlns:a16="http://schemas.microsoft.com/office/drawing/2014/main" id="{747FD6F4-2465-CD02-3B6A-2999F1E447FE}"/>
              </a:ext>
            </a:extLst>
          </p:cNvPr>
          <p:cNvPicPr>
            <a:picLocks noChangeAspect="1"/>
          </p:cNvPicPr>
          <p:nvPr/>
        </p:nvPicPr>
        <p:blipFill>
          <a:blip r:embed="rId3"/>
          <a:stretch>
            <a:fillRect/>
          </a:stretch>
        </p:blipFill>
        <p:spPr>
          <a:xfrm>
            <a:off x="228600" y="1127520"/>
            <a:ext cx="3349274" cy="754260"/>
          </a:xfrm>
          <a:prstGeom prst="rect">
            <a:avLst/>
          </a:prstGeom>
        </p:spPr>
      </p:pic>
      <p:pic>
        <p:nvPicPr>
          <p:cNvPr id="9" name="Picture 8">
            <a:extLst>
              <a:ext uri="{FF2B5EF4-FFF2-40B4-BE49-F238E27FC236}">
                <a16:creationId xmlns:a16="http://schemas.microsoft.com/office/drawing/2014/main" id="{2DBB6F00-B35C-C1AC-33A0-40E6A5529879}"/>
              </a:ext>
            </a:extLst>
          </p:cNvPr>
          <p:cNvPicPr>
            <a:picLocks noChangeAspect="1"/>
          </p:cNvPicPr>
          <p:nvPr/>
        </p:nvPicPr>
        <p:blipFill rotWithShape="1">
          <a:blip r:embed="rId4"/>
          <a:srcRect r="27316" b="39554"/>
          <a:stretch/>
        </p:blipFill>
        <p:spPr>
          <a:xfrm>
            <a:off x="228600" y="1754544"/>
            <a:ext cx="5137533" cy="2204560"/>
          </a:xfrm>
          <a:prstGeom prst="rect">
            <a:avLst/>
          </a:prstGeom>
        </p:spPr>
      </p:pic>
      <p:pic>
        <p:nvPicPr>
          <p:cNvPr id="13" name="Picture 12">
            <a:extLst>
              <a:ext uri="{FF2B5EF4-FFF2-40B4-BE49-F238E27FC236}">
                <a16:creationId xmlns:a16="http://schemas.microsoft.com/office/drawing/2014/main" id="{1B86F816-33C5-FADB-EE6D-9777E4541F66}"/>
              </a:ext>
            </a:extLst>
          </p:cNvPr>
          <p:cNvPicPr>
            <a:picLocks noChangeAspect="1"/>
          </p:cNvPicPr>
          <p:nvPr/>
        </p:nvPicPr>
        <p:blipFill>
          <a:blip r:embed="rId5"/>
          <a:stretch>
            <a:fillRect/>
          </a:stretch>
        </p:blipFill>
        <p:spPr>
          <a:xfrm>
            <a:off x="228599" y="4101550"/>
            <a:ext cx="5137533" cy="2335242"/>
          </a:xfrm>
          <a:prstGeom prst="rect">
            <a:avLst/>
          </a:prstGeom>
        </p:spPr>
      </p:pic>
      <p:pic>
        <p:nvPicPr>
          <p:cNvPr id="15" name="Picture 14">
            <a:extLst>
              <a:ext uri="{FF2B5EF4-FFF2-40B4-BE49-F238E27FC236}">
                <a16:creationId xmlns:a16="http://schemas.microsoft.com/office/drawing/2014/main" id="{9FF7C8E7-6646-403D-3371-DBF8DDC44BEA}"/>
              </a:ext>
            </a:extLst>
          </p:cNvPr>
          <p:cNvPicPr>
            <a:picLocks noChangeAspect="1"/>
          </p:cNvPicPr>
          <p:nvPr/>
        </p:nvPicPr>
        <p:blipFill>
          <a:blip r:embed="rId6"/>
          <a:stretch>
            <a:fillRect/>
          </a:stretch>
        </p:blipFill>
        <p:spPr>
          <a:xfrm>
            <a:off x="5721148" y="4074009"/>
            <a:ext cx="4876800" cy="2362784"/>
          </a:xfrm>
          <a:prstGeom prst="rect">
            <a:avLst/>
          </a:prstGeom>
        </p:spPr>
      </p:pic>
    </p:spTree>
    <p:extLst>
      <p:ext uri="{BB962C8B-B14F-4D97-AF65-F5344CB8AC3E}">
        <p14:creationId xmlns:p14="http://schemas.microsoft.com/office/powerpoint/2010/main" val="1563762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INTEGRATIONS.LOCALMASTER" val="{&quot;path&quot;:null,&quot;elementId&quot;:&quot;d7f02231-4565-4a3e-bdd1-3bddde098091&quot;,&quot;elementName&quot;:null,&quot;databaseId&quot;:&quot;FDE84254-54DB-49E3-9A0E-CDE72035D530&quot;,&quot;timeStamp&quot;:&quot;2021-03-08T09:15:48&quot;}"/>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FALLBACK_LAYOUT" val="5"/>
  <p:tag name="MIO_SHOW_DATE" val="False"/>
  <p:tag name="MIO_SHOW_FOOTER" val="False"/>
  <p:tag name="MIO_SHOW_PAGENUMBER" val="True"/>
  <p:tag name="MIO_AVOID_BLANK_LAYOUT" val="False"/>
  <p:tag name="MIO_CD_LAYOUT_VALID_AREA" val="False"/>
  <p:tag name="MIO_NUMBER_OF_VALID_LAYOUTS" val="19"/>
  <p:tag name="MIO_HDS" val="True"/>
  <p:tag name="MIO_SKIPVERSION" val="01.01.0001 00:00:00"/>
  <p:tag name="MIO_EKGUID" val="d7f02231-4565-4a3e-bdd1-3bddde098091"/>
  <p:tag name="MIO_UPDATE" val="True"/>
  <p:tag name="MIO_VERSION" val="08.03.2021 09:15:48"/>
  <p:tag name="MIO_DBID" val="FDE84254-54DB-49E3-9A0E-CDE72035D530"/>
  <p:tag name="MIO_LASTDOWNLOADED" val="09.06.2021 15:26:21.810"/>
  <p:tag name="MIO_OBJECTNAME" val="Infineon 16:9 Original"/>
  <p:tag name="MIO_CDID" val="906d5752-464b-466e-b4dc-f788d8f80480"/>
</p:tagLst>
</file>

<file path=ppt/tags/tag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Colors">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9525">
          <a:noFill/>
          <a:miter lim="800000"/>
          <a:headEnd/>
          <a:tailEnd/>
        </a:ln>
      </a:spPr>
      <a:bodyPr wrap="square" lIns="72000" tIns="72000" rIns="72000" bIns="72000" rtlCol="0" anchor="ctr"/>
      <a:lstStyle>
        <a:defPPr algn="ctr" eaLnBrk="0" hangingPunct="0">
          <a:defRPr sz="1600" baseline="0" dirty="0">
            <a:latin typeface="+mn-lt"/>
            <a:ea typeface="+mn-ea"/>
            <a:cs typeface="+mn-cs"/>
          </a:defRPr>
        </a:defPPr>
      </a:lstStyle>
    </a:spDef>
    <a:lnDef>
      <a:spPr>
        <a:ln w="1905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ctr" anchorCtr="0">
        <a:noAutofit/>
      </a:bodyPr>
      <a:lstStyle>
        <a:defPPr marL="180000" marR="0" indent="-180000" algn="l" defTabSz="576000" eaLnBrk="0" fontAlgn="auto" latinLnBrk="0" hangingPunct="0">
          <a:spcBef>
            <a:spcPts val="0"/>
          </a:spcBef>
          <a:spcAft>
            <a:spcPts val="0"/>
          </a:spcAft>
          <a:buClr>
            <a:schemeClr val="accent1"/>
          </a:buClr>
          <a:buSzTx/>
          <a:buFont typeface="Arial" panose="020B0604020202020204" pitchFamily="34" charset="0"/>
          <a:buChar char="›"/>
          <a:tabLst/>
          <a:defRPr sz="1400" kern="0" baseline="0" dirty="0">
            <a:latin typeface="+mn-lt"/>
            <a:ea typeface="+mn-ea"/>
            <a:cs typeface="+mn-cs"/>
          </a:defRPr>
        </a:defPPr>
      </a:lstStyle>
    </a:txDef>
  </a:objectDefaults>
  <a:extraClrSchemeLst/>
  <a:extLst>
    <a:ext uri="{05A4C25C-085E-4340-85A3-A5531E510DB2}">
      <thm15:themeFamily xmlns:thm15="http://schemas.microsoft.com/office/thememl/2012/main" name="Presentation1" id="{D2D82DBC-543C-4C01-89DA-67EFD69AFADE}" vid="{8AC0F1FA-5E73-42DC-8F54-D11C459B6CAD}"/>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customXsn xmlns="http://schemas.microsoft.com/office/2006/metadata/customXsn">
  <xsnLocation/>
  <cached>True</cached>
  <openByDefault>False</openByDefault>
  <xsnScope/>
</customXsn>
</file>

<file path=customXml/item3.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Props1.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2.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3.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299A1D5-F553-4264-9022-E0136C61CE27}">
  <ds:schemaRefs>
    <ds:schemaRef ds:uri="http://www.w3.org/XML/1998/namespace"/>
    <ds:schemaRef ds:uri="http://schemas.openxmlformats.org/package/2006/metadata/core-properties"/>
    <ds:schemaRef ds:uri="http://schemas.microsoft.com/office/2006/documentManagement/types"/>
    <ds:schemaRef ds:uri="http://schemas.microsoft.com/office/infopath/2007/PartnerControls"/>
    <ds:schemaRef ds:uri="a709603d-609a-478b-a91d-3c5e984c0e79"/>
    <ds:schemaRef ds:uri="http://schemas.microsoft.com/office/2006/metadata/properties"/>
    <ds:schemaRef ds:uri="http://purl.org/dc/elements/1.1/"/>
    <ds:schemaRef ds:uri="http://purl.org/dc/terms/"/>
    <ds:schemaRef ds:uri="6ef45842-284e-44e4-b2db-1749e7948b44"/>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499</Words>
  <Application>Microsoft Office PowerPoint</Application>
  <PresentationFormat>Widescreen</PresentationFormat>
  <Paragraphs>271</Paragraphs>
  <Slides>38</Slides>
  <Notes>28</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8</vt:i4>
      </vt:variant>
    </vt:vector>
  </HeadingPairs>
  <TitlesOfParts>
    <vt:vector size="43" baseType="lpstr">
      <vt:lpstr>Arial Unicode MS</vt:lpstr>
      <vt:lpstr>Arial</vt:lpstr>
      <vt:lpstr>Verdana</vt:lpstr>
      <vt:lpstr>Wingdings</vt:lpstr>
      <vt:lpstr>Infineon 16:9</vt:lpstr>
      <vt:lpstr>User manual of BSHL (Bridgepath for SystemVerilog and High-level language)</vt:lpstr>
      <vt:lpstr>Overview of BSHL project</vt:lpstr>
      <vt:lpstr>Functions Pakaging strategy</vt:lpstr>
      <vt:lpstr>BSHL: Bridgepath for Systemverilog and High-level Languages</vt:lpstr>
      <vt:lpstr>BSHL: Bridgepath for Systemverilog and High-level Languages</vt:lpstr>
      <vt:lpstr>PowerPoint Presentation</vt:lpstr>
      <vt:lpstr>PowerPoint Presentation</vt:lpstr>
      <vt:lpstr>PowerPoint Presentation</vt:lpstr>
      <vt:lpstr>PowerPoint Presentation</vt:lpstr>
      <vt:lpstr>PowerPoint Presentation</vt:lpstr>
      <vt:lpstr>PowerPoint Presentation</vt:lpstr>
      <vt:lpstr>How to integrate BSHL</vt:lpstr>
      <vt:lpstr>Integration – Take RV2DEMO as an example</vt:lpstr>
      <vt:lpstr>Integration-Step1: rebuild framework</vt:lpstr>
      <vt:lpstr>Integration-Step2:  inside the test case</vt:lpstr>
      <vt:lpstr>Integration–Step3: Add the “response/result back to python” part</vt:lpstr>
      <vt:lpstr>Example integration details</vt:lpstr>
      <vt:lpstr>Integration details guide</vt:lpstr>
      <vt:lpstr>Intergration details guide</vt:lpstr>
      <vt:lpstr>Integration – BSHL_user_extensions.svh</vt:lpstr>
      <vt:lpstr>Intergration details guide</vt:lpstr>
      <vt:lpstr>Integration – external_sequence.svh</vt:lpstr>
      <vt:lpstr>Intergration details guide</vt:lpstr>
      <vt:lpstr>Integration – BSHL_api.svh</vt:lpstr>
      <vt:lpstr>Integration – BSHL_api.svh</vt:lpstr>
      <vt:lpstr>Integration – BSHL_api.svh</vt:lpstr>
      <vt:lpstr>Intergration details guide</vt:lpstr>
      <vt:lpstr>Integration – rival2_tb_top.sv</vt:lpstr>
      <vt:lpstr>Intergration details guide </vt:lpstr>
      <vt:lpstr>Intergration details guide </vt:lpstr>
      <vt:lpstr>Intergration details guide </vt:lpstr>
      <vt:lpstr>Intergration details guide  /units/ d_pyuvm/simulation/pyuvm_sim /Makefile </vt:lpstr>
      <vt:lpstr>Intergration details guide /units/d_pyuvm/simulation/pyuvm_sim/Makefile </vt:lpstr>
      <vt:lpstr>Intergration details guide </vt:lpstr>
      <vt:lpstr>PowerPoint Presentation</vt:lpstr>
      <vt:lpstr>Intergration details guide </vt:lpstr>
      <vt:lpstr>Intergration details guid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ekly Work Progress Report --1st</dc:title>
  <dc:creator>Wang Yilou (IFAG DES DOS FIP ESD HV)</dc:creator>
  <cp:lastModifiedBy>Guo Zhiru (DES DOS VV DFV M SUB)</cp:lastModifiedBy>
  <cp:revision>103</cp:revision>
  <dcterms:created xsi:type="dcterms:W3CDTF">2023-07-21T11:56:32Z</dcterms:created>
  <dcterms:modified xsi:type="dcterms:W3CDTF">2024-11-15T06:4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1-02-08T06:22:02Z</vt:filetime>
  </property>
  <property fmtid="{D5CDD505-2E9C-101B-9397-08002B2CF9AE}" pid="15" name="empower.integration.Classification.DateFormat">
    <vt:lpwstr>yyyy-MM-dd</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1-06-09T13:25:43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94a48cc1-f889-4595-b4b2-dceefcc2b879</vt:lpwstr>
  </property>
  <property fmtid="{D5CDD505-2E9C-101B-9397-08002B2CF9AE}" pid="28" name="MSIP_Label_a15a25aa-e944-415d-b7a7-40f6b9180b6b_ContentBits">
    <vt:lpwstr>0</vt:lpwstr>
  </property>
</Properties>
</file>